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diagrams/data8.xml" ContentType="application/vnd.openxmlformats-officedocument.drawingml.diagramData+xml"/>
  <Override PartName="/ppt/diagrams/data6.xml" ContentType="application/vnd.openxmlformats-officedocument.drawingml.diagramData+xml"/>
  <Override PartName="/ppt/diagrams/data5.xml" ContentType="application/vnd.openxmlformats-officedocument.drawingml.diagramData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diagrams/data4.xml" ContentType="application/vnd.openxmlformats-officedocument.drawingml.diagramData+xml"/>
  <Override PartName="/ppt/diagrams/data1.xml" ContentType="application/vnd.openxmlformats-officedocument.drawingml.diagramData+xml"/>
  <Override PartName="/ppt/diagrams/data7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layout4.xml" ContentType="application/vnd.openxmlformats-officedocument.drawingml.diagramLayout+xml"/>
  <Override PartName="/ppt/diagrams/colors8.xml" ContentType="application/vnd.openxmlformats-officedocument.drawingml.diagramColors+xml"/>
  <Override PartName="/ppt/diagrams/drawing7.xml" ContentType="application/vnd.ms-office.drawingml.diagramDrawing+xml"/>
  <Override PartName="/ppt/diagrams/quickStyle3.xml" ContentType="application/vnd.openxmlformats-officedocument.drawingml.diagramStyle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layout7.xml" ContentType="application/vnd.openxmlformats-officedocument.drawingml.diagramLayout+xml"/>
  <Override PartName="/ppt/diagrams/drawing8.xml" ContentType="application/vnd.ms-office.drawingml.diagramDrawing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colors2.xml" ContentType="application/vnd.openxmlformats-officedocument.drawingml.diagramColors+xml"/>
  <Override PartName="/ppt/diagrams/layout3.xml" ContentType="application/vnd.openxmlformats-officedocument.drawingml.diagramLayout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theme/theme3.xml" ContentType="application/vnd.openxmlformats-officedocument.theme+xml"/>
  <Override PartName="/ppt/theme/theme2.xml" ContentType="application/vnd.openxmlformats-officedocument.theme+xml"/>
  <Override PartName="/ppt/diagrams/quickStyle1.xml" ContentType="application/vnd.openxmlformats-officedocument.drawingml.diagramStyle+xml"/>
  <Override PartName="/ppt/diagrams/drawing3.xml" ContentType="application/vnd.ms-office.drawingml.diagramDrawing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colors3.xml" ContentType="application/vnd.openxmlformats-officedocument.drawingml.diagramColors+xml"/>
  <Override PartName="/ppt/diagrams/layout6.xml" ContentType="application/vnd.openxmlformats-officedocument.drawingml.diagramLayou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48" r:id="rId2"/>
    <p:sldMasterId id="2147483662" r:id="rId3"/>
  </p:sldMasterIdLst>
  <p:sldIdLst>
    <p:sldId id="2142533446" r:id="rId4"/>
    <p:sldId id="2142533431" r:id="rId5"/>
    <p:sldId id="2142533448" r:id="rId6"/>
    <p:sldId id="2142533450" r:id="rId7"/>
    <p:sldId id="2142533455" r:id="rId8"/>
    <p:sldId id="2142533456" r:id="rId9"/>
    <p:sldId id="2142533441" r:id="rId10"/>
    <p:sldId id="2142533454" r:id="rId11"/>
    <p:sldId id="2142533452" r:id="rId12"/>
    <p:sldId id="214253345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1" d="100"/>
          <a:sy n="71" d="100"/>
        </p:scale>
        <p:origin x="69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customXml" Target="../customXml/item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4DA50F-196B-43D7-B43C-CACE6CE98112}" type="doc">
      <dgm:prSet loTypeId="urn:microsoft.com/office/officeart/2005/8/layout/vList2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IN"/>
        </a:p>
      </dgm:t>
    </dgm:pt>
    <dgm:pt modelId="{19306DE8-D217-4BFE-900E-639C0DBA340A}">
      <dgm:prSet/>
      <dgm:spPr/>
      <dgm:t>
        <a:bodyPr/>
        <a:lstStyle/>
        <a:p>
          <a:r>
            <a:rPr lang="en-IN" dirty="0" err="1"/>
            <a:t>Pipelines.yaml</a:t>
          </a:r>
          <a:endParaRPr lang="en-IN" dirty="0"/>
        </a:p>
      </dgm:t>
    </dgm:pt>
    <dgm:pt modelId="{CE3EE83C-2503-4319-ABCD-508EB7824C4A}" type="parTrans" cxnId="{8766CF9B-09CA-440E-88CB-AC9FC9CD417D}">
      <dgm:prSet/>
      <dgm:spPr/>
      <dgm:t>
        <a:bodyPr/>
        <a:lstStyle/>
        <a:p>
          <a:endParaRPr lang="en-IN"/>
        </a:p>
      </dgm:t>
    </dgm:pt>
    <dgm:pt modelId="{0C968E16-A94F-4B88-9879-E1EDA276621D}" type="sibTrans" cxnId="{8766CF9B-09CA-440E-88CB-AC9FC9CD417D}">
      <dgm:prSet/>
      <dgm:spPr/>
      <dgm:t>
        <a:bodyPr/>
        <a:lstStyle/>
        <a:p>
          <a:endParaRPr lang="en-IN"/>
        </a:p>
      </dgm:t>
    </dgm:pt>
    <dgm:pt modelId="{AC23E81B-8047-481A-A654-29410A890F46}">
      <dgm:prSet/>
      <dgm:spPr/>
      <dgm:t>
        <a:bodyPr/>
        <a:lstStyle/>
        <a:p>
          <a:pPr>
            <a:buNone/>
          </a:pPr>
          <a:r>
            <a:rPr lang="en-IN" dirty="0">
              <a:solidFill>
                <a:schemeClr val="accent1"/>
              </a:solidFill>
            </a:rPr>
            <a:t>log-pipeline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source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kafka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</a:t>
          </a:r>
          <a:r>
            <a:rPr lang="en-IN" dirty="0" err="1">
              <a:solidFill>
                <a:schemeClr val="accent1"/>
              </a:solidFill>
            </a:rPr>
            <a:t>bootstrap_servers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- pkc-ymrq7.us-east-2.aws.confluent.cloud:9092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</a:t>
          </a:r>
          <a:r>
            <a:rPr lang="en-IN" dirty="0" err="1">
              <a:solidFill>
                <a:schemeClr val="accent1"/>
              </a:solidFill>
            </a:rPr>
            <a:t>client_dns_lookup</a:t>
          </a:r>
          <a:r>
            <a:rPr lang="en-IN" dirty="0">
              <a:solidFill>
                <a:schemeClr val="accent1"/>
              </a:solidFill>
            </a:rPr>
            <a:t>: </a:t>
          </a:r>
          <a:r>
            <a:rPr lang="en-IN" dirty="0" err="1">
              <a:solidFill>
                <a:schemeClr val="accent1"/>
              </a:solidFill>
            </a:rPr>
            <a:t>use_all_dns_ip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encryption: plaintext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topics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- name: topic-</a:t>
          </a:r>
          <a:r>
            <a:rPr lang="en-IN" dirty="0" err="1">
              <a:solidFill>
                <a:schemeClr val="accent1"/>
              </a:solidFill>
            </a:rPr>
            <a:t>jso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workers: 5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auto_commit</a:t>
          </a:r>
          <a:r>
            <a:rPr lang="en-IN" dirty="0">
              <a:solidFill>
                <a:schemeClr val="accent1"/>
              </a:solidFill>
            </a:rPr>
            <a:t>: false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auto_commit_interval</a:t>
          </a:r>
          <a:r>
            <a:rPr lang="en-IN" dirty="0">
              <a:solidFill>
                <a:schemeClr val="accent1"/>
              </a:solidFill>
            </a:rPr>
            <a:t>: PT5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session_timeout</a:t>
          </a:r>
          <a:r>
            <a:rPr lang="en-IN" dirty="0">
              <a:solidFill>
                <a:schemeClr val="accent1"/>
              </a:solidFill>
            </a:rPr>
            <a:t>: 45000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max_retry_attempts</a:t>
          </a:r>
          <a:r>
            <a:rPr lang="en-IN" dirty="0">
              <a:solidFill>
                <a:schemeClr val="accent1"/>
              </a:solidFill>
            </a:rPr>
            <a:t>: 1000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auto_offset_reset</a:t>
          </a:r>
          <a:r>
            <a:rPr lang="en-IN" dirty="0">
              <a:solidFill>
                <a:schemeClr val="accent1"/>
              </a:solidFill>
            </a:rPr>
            <a:t>: earliest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    </a:t>
          </a:r>
          <a:r>
            <a:rPr lang="en-IN" dirty="0" err="1">
              <a:solidFill>
                <a:schemeClr val="accent1"/>
              </a:solidFill>
            </a:rPr>
            <a:t>thread_waiting_time</a:t>
          </a:r>
          <a:r>
            <a:rPr lang="en-IN" dirty="0">
              <a:solidFill>
                <a:schemeClr val="accent1"/>
              </a:solidFill>
            </a:rPr>
            <a:t>: PT1S</a:t>
          </a:r>
        </a:p>
      </dgm:t>
    </dgm:pt>
    <dgm:pt modelId="{5F741CB2-40F2-4C46-BDCC-3B8568A0A4EC}" type="parTrans" cxnId="{C48D49D0-41AF-4951-9547-81175362D0E7}">
      <dgm:prSet/>
      <dgm:spPr/>
      <dgm:t>
        <a:bodyPr/>
        <a:lstStyle/>
        <a:p>
          <a:endParaRPr lang="en-IN"/>
        </a:p>
      </dgm:t>
    </dgm:pt>
    <dgm:pt modelId="{B61444A9-951F-4B00-ADD2-60C6FFF88CEC}" type="sibTrans" cxnId="{C48D49D0-41AF-4951-9547-81175362D0E7}">
      <dgm:prSet/>
      <dgm:spPr/>
      <dgm:t>
        <a:bodyPr/>
        <a:lstStyle/>
        <a:p>
          <a:endParaRPr lang="en-IN"/>
        </a:p>
      </dgm:t>
    </dgm:pt>
    <dgm:pt modelId="{A9978C1C-8ED1-4D77-A693-7E1301E3DD40}" type="pres">
      <dgm:prSet presAssocID="{544DA50F-196B-43D7-B43C-CACE6CE98112}" presName="linear" presStyleCnt="0">
        <dgm:presLayoutVars>
          <dgm:animLvl val="lvl"/>
          <dgm:resizeHandles val="exact"/>
        </dgm:presLayoutVars>
      </dgm:prSet>
      <dgm:spPr/>
    </dgm:pt>
    <dgm:pt modelId="{2EC6B1C0-2C2B-4D8C-97D1-BB2E293B81DB}" type="pres">
      <dgm:prSet presAssocID="{19306DE8-D217-4BFE-900E-639C0DBA340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96175F1F-1A01-4EFA-9837-C8B97DD85DA6}" type="pres">
      <dgm:prSet presAssocID="{19306DE8-D217-4BFE-900E-639C0DBA340A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9D85D03-EE56-4C00-8734-B2A09C5B3119}" type="presOf" srcId="{544DA50F-196B-43D7-B43C-CACE6CE98112}" destId="{A9978C1C-8ED1-4D77-A693-7E1301E3DD40}" srcOrd="0" destOrd="0" presId="urn:microsoft.com/office/officeart/2005/8/layout/vList2"/>
    <dgm:cxn modelId="{A581470E-0BFF-41DF-8833-369127FD848F}" type="presOf" srcId="{19306DE8-D217-4BFE-900E-639C0DBA340A}" destId="{2EC6B1C0-2C2B-4D8C-97D1-BB2E293B81DB}" srcOrd="0" destOrd="0" presId="urn:microsoft.com/office/officeart/2005/8/layout/vList2"/>
    <dgm:cxn modelId="{2280092B-EC1F-46CD-A3F7-68351D73A01B}" type="presOf" srcId="{AC23E81B-8047-481A-A654-29410A890F46}" destId="{96175F1F-1A01-4EFA-9837-C8B97DD85DA6}" srcOrd="0" destOrd="0" presId="urn:microsoft.com/office/officeart/2005/8/layout/vList2"/>
    <dgm:cxn modelId="{8766CF9B-09CA-440E-88CB-AC9FC9CD417D}" srcId="{544DA50F-196B-43D7-B43C-CACE6CE98112}" destId="{19306DE8-D217-4BFE-900E-639C0DBA340A}" srcOrd="0" destOrd="0" parTransId="{CE3EE83C-2503-4319-ABCD-508EB7824C4A}" sibTransId="{0C968E16-A94F-4B88-9879-E1EDA276621D}"/>
    <dgm:cxn modelId="{C48D49D0-41AF-4951-9547-81175362D0E7}" srcId="{19306DE8-D217-4BFE-900E-639C0DBA340A}" destId="{AC23E81B-8047-481A-A654-29410A890F46}" srcOrd="0" destOrd="0" parTransId="{5F741CB2-40F2-4C46-BDCC-3B8568A0A4EC}" sibTransId="{B61444A9-951F-4B00-ADD2-60C6FFF88CEC}"/>
    <dgm:cxn modelId="{F4DFDA85-501D-4305-B061-8335E8C078CC}" type="presParOf" srcId="{A9978C1C-8ED1-4D77-A693-7E1301E3DD40}" destId="{2EC6B1C0-2C2B-4D8C-97D1-BB2E293B81DB}" srcOrd="0" destOrd="0" presId="urn:microsoft.com/office/officeart/2005/8/layout/vList2"/>
    <dgm:cxn modelId="{7EFC13A8-851C-4ECE-BD05-B6BAC3357DA4}" type="presParOf" srcId="{A9978C1C-8ED1-4D77-A693-7E1301E3DD40}" destId="{96175F1F-1A01-4EFA-9837-C8B97DD85DA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4DA50F-196B-43D7-B43C-CACE6CE98112}" type="doc">
      <dgm:prSet loTypeId="urn:microsoft.com/office/officeart/2005/8/layout/vList2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IN"/>
        </a:p>
      </dgm:t>
    </dgm:pt>
    <dgm:pt modelId="{19306DE8-D217-4BFE-900E-639C0DBA340A}">
      <dgm:prSet/>
      <dgm:spPr/>
      <dgm:t>
        <a:bodyPr/>
        <a:lstStyle/>
        <a:p>
          <a:r>
            <a:rPr lang="en-IN" dirty="0" err="1"/>
            <a:t>Pipelines.yaml</a:t>
          </a:r>
          <a:endParaRPr lang="en-IN" dirty="0"/>
        </a:p>
      </dgm:t>
    </dgm:pt>
    <dgm:pt modelId="{CE3EE83C-2503-4319-ABCD-508EB7824C4A}" type="parTrans" cxnId="{8766CF9B-09CA-440E-88CB-AC9FC9CD417D}">
      <dgm:prSet/>
      <dgm:spPr/>
      <dgm:t>
        <a:bodyPr/>
        <a:lstStyle/>
        <a:p>
          <a:endParaRPr lang="en-IN"/>
        </a:p>
      </dgm:t>
    </dgm:pt>
    <dgm:pt modelId="{0C968E16-A94F-4B88-9879-E1EDA276621D}" type="sibTrans" cxnId="{8766CF9B-09CA-440E-88CB-AC9FC9CD417D}">
      <dgm:prSet/>
      <dgm:spPr/>
      <dgm:t>
        <a:bodyPr/>
        <a:lstStyle/>
        <a:p>
          <a:endParaRPr lang="en-IN"/>
        </a:p>
      </dgm:t>
    </dgm:pt>
    <dgm:pt modelId="{AC23E81B-8047-481A-A654-29410A890F46}">
      <dgm:prSet/>
      <dgm:spPr/>
      <dgm:t>
        <a:bodyPr/>
        <a:lstStyle/>
        <a:p>
          <a:r>
            <a:rPr lang="en-IN" dirty="0" err="1">
              <a:solidFill>
                <a:schemeClr val="accent1"/>
              </a:solidFill>
            </a:rPr>
            <a:t>max_record_fetch_time</a:t>
          </a:r>
          <a:r>
            <a:rPr lang="en-IN" dirty="0">
              <a:solidFill>
                <a:schemeClr val="accent1"/>
              </a:solidFill>
            </a:rPr>
            <a:t>: PT4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heart_beat_interval</a:t>
          </a:r>
          <a:r>
            <a:rPr lang="en-IN" dirty="0">
              <a:solidFill>
                <a:schemeClr val="accent1"/>
              </a:solidFill>
            </a:rPr>
            <a:t>: PT3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buffer_default_timeout</a:t>
          </a:r>
          <a:r>
            <a:rPr lang="en-IN" dirty="0">
              <a:solidFill>
                <a:schemeClr val="accent1"/>
              </a:solidFill>
            </a:rPr>
            <a:t>: PT5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fetch_max_bytes</a:t>
          </a:r>
          <a:r>
            <a:rPr lang="en-IN" dirty="0">
              <a:solidFill>
                <a:schemeClr val="accent1"/>
              </a:solidFill>
            </a:rPr>
            <a:t>: 52428800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fetch_max_wait</a:t>
          </a:r>
          <a:r>
            <a:rPr lang="en-IN" dirty="0">
              <a:solidFill>
                <a:schemeClr val="accent1"/>
              </a:solidFill>
            </a:rPr>
            <a:t>: 500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fetch_min_bytes</a:t>
          </a:r>
          <a:r>
            <a:rPr lang="en-IN" dirty="0">
              <a:solidFill>
                <a:schemeClr val="accent1"/>
              </a:solidFill>
            </a:rPr>
            <a:t>: 1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retry_backoff</a:t>
          </a:r>
          <a:r>
            <a:rPr lang="en-IN" dirty="0">
              <a:solidFill>
                <a:schemeClr val="accent1"/>
              </a:solidFill>
            </a:rPr>
            <a:t>: PT100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consumer_max_poll_records</a:t>
          </a:r>
          <a:r>
            <a:rPr lang="en-IN" dirty="0">
              <a:solidFill>
                <a:schemeClr val="accent1"/>
              </a:solidFill>
            </a:rPr>
            <a:t>: 500</a:t>
          </a:r>
          <a:br>
            <a:rPr lang="en-IN" dirty="0">
              <a:solidFill>
                <a:schemeClr val="accent1"/>
              </a:solidFill>
            </a:rPr>
          </a:br>
          <a:r>
            <a:rPr lang="en-IN" b="1" dirty="0">
              <a:solidFill>
                <a:schemeClr val="accent1"/>
              </a:solidFill>
            </a:rPr>
            <a:t>schema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registry_url</a:t>
          </a:r>
          <a:r>
            <a:rPr lang="en-IN" dirty="0">
              <a:solidFill>
                <a:schemeClr val="accent1"/>
              </a:solidFill>
            </a:rPr>
            <a:t>: https://psrc-em82q.us-east-2.aws.confluent.cloud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version: 1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schema_registry_api_key</a:t>
          </a:r>
          <a:r>
            <a:rPr lang="en-IN" dirty="0">
              <a:solidFill>
                <a:schemeClr val="accent1"/>
              </a:solidFill>
            </a:rPr>
            <a:t>: 7QV2UXHRVNOC6AJD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schema_registry_api_secret</a:t>
          </a:r>
          <a:r>
            <a:rPr lang="en-IN" dirty="0">
              <a:solidFill>
                <a:schemeClr val="accent1"/>
              </a:solidFill>
            </a:rPr>
            <a:t>: 6M9xLZDIfmyBN9cqNm2n9GU23mleiaIHJWqQeA5P4JY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basic_auth_credentials_source</a:t>
          </a:r>
          <a:r>
            <a:rPr lang="en-IN" dirty="0">
              <a:solidFill>
                <a:schemeClr val="accent1"/>
              </a:solidFill>
            </a:rPr>
            <a:t>: USER_INFO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session_timeout_ms</a:t>
          </a:r>
          <a:r>
            <a:rPr lang="en-IN" dirty="0">
              <a:solidFill>
                <a:schemeClr val="accent1"/>
              </a:solidFill>
            </a:rPr>
            <a:t>: 45000</a:t>
          </a:r>
        </a:p>
      </dgm:t>
    </dgm:pt>
    <dgm:pt modelId="{5F741CB2-40F2-4C46-BDCC-3B8568A0A4EC}" type="parTrans" cxnId="{C48D49D0-41AF-4951-9547-81175362D0E7}">
      <dgm:prSet/>
      <dgm:spPr/>
      <dgm:t>
        <a:bodyPr/>
        <a:lstStyle/>
        <a:p>
          <a:endParaRPr lang="en-IN"/>
        </a:p>
      </dgm:t>
    </dgm:pt>
    <dgm:pt modelId="{B61444A9-951F-4B00-ADD2-60C6FFF88CEC}" type="sibTrans" cxnId="{C48D49D0-41AF-4951-9547-81175362D0E7}">
      <dgm:prSet/>
      <dgm:spPr/>
      <dgm:t>
        <a:bodyPr/>
        <a:lstStyle/>
        <a:p>
          <a:endParaRPr lang="en-IN"/>
        </a:p>
      </dgm:t>
    </dgm:pt>
    <dgm:pt modelId="{C8772C1D-5BED-45EF-9A87-748FEE3D6D39}">
      <dgm:prSet/>
      <dgm:spPr/>
      <dgm:t>
        <a:bodyPr/>
        <a:lstStyle/>
        <a:p>
          <a:pPr>
            <a:buNone/>
          </a:pPr>
          <a:endParaRPr lang="en-IN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FD34CB-F1D8-48F4-9FBA-3D6DABEDC22A}" type="parTrans" cxnId="{D6105BA5-EF21-49C6-88CB-30C404865F39}">
      <dgm:prSet/>
      <dgm:spPr/>
    </dgm:pt>
    <dgm:pt modelId="{63C74E9E-22A5-476B-A849-9AC3CAED3DF3}" type="sibTrans" cxnId="{D6105BA5-EF21-49C6-88CB-30C404865F39}">
      <dgm:prSet/>
      <dgm:spPr/>
    </dgm:pt>
    <dgm:pt modelId="{A9978C1C-8ED1-4D77-A693-7E1301E3DD40}" type="pres">
      <dgm:prSet presAssocID="{544DA50F-196B-43D7-B43C-CACE6CE98112}" presName="linear" presStyleCnt="0">
        <dgm:presLayoutVars>
          <dgm:animLvl val="lvl"/>
          <dgm:resizeHandles val="exact"/>
        </dgm:presLayoutVars>
      </dgm:prSet>
      <dgm:spPr/>
    </dgm:pt>
    <dgm:pt modelId="{2EC6B1C0-2C2B-4D8C-97D1-BB2E293B81DB}" type="pres">
      <dgm:prSet presAssocID="{19306DE8-D217-4BFE-900E-639C0DBA340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96175F1F-1A01-4EFA-9837-C8B97DD85DA6}" type="pres">
      <dgm:prSet presAssocID="{19306DE8-D217-4BFE-900E-639C0DBA340A}" presName="childText" presStyleLbl="revTx" presStyleIdx="0" presStyleCnt="1" custAng="0">
        <dgm:presLayoutVars>
          <dgm:bulletEnabled val="1"/>
        </dgm:presLayoutVars>
      </dgm:prSet>
      <dgm:spPr/>
    </dgm:pt>
  </dgm:ptLst>
  <dgm:cxnLst>
    <dgm:cxn modelId="{29D85D03-EE56-4C00-8734-B2A09C5B3119}" type="presOf" srcId="{544DA50F-196B-43D7-B43C-CACE6CE98112}" destId="{A9978C1C-8ED1-4D77-A693-7E1301E3DD40}" srcOrd="0" destOrd="0" presId="urn:microsoft.com/office/officeart/2005/8/layout/vList2"/>
    <dgm:cxn modelId="{A581470E-0BFF-41DF-8833-369127FD848F}" type="presOf" srcId="{19306DE8-D217-4BFE-900E-639C0DBA340A}" destId="{2EC6B1C0-2C2B-4D8C-97D1-BB2E293B81DB}" srcOrd="0" destOrd="0" presId="urn:microsoft.com/office/officeart/2005/8/layout/vList2"/>
    <dgm:cxn modelId="{2280092B-EC1F-46CD-A3F7-68351D73A01B}" type="presOf" srcId="{AC23E81B-8047-481A-A654-29410A890F46}" destId="{96175F1F-1A01-4EFA-9837-C8B97DD85DA6}" srcOrd="0" destOrd="0" presId="urn:microsoft.com/office/officeart/2005/8/layout/vList2"/>
    <dgm:cxn modelId="{8766CF9B-09CA-440E-88CB-AC9FC9CD417D}" srcId="{544DA50F-196B-43D7-B43C-CACE6CE98112}" destId="{19306DE8-D217-4BFE-900E-639C0DBA340A}" srcOrd="0" destOrd="0" parTransId="{CE3EE83C-2503-4319-ABCD-508EB7824C4A}" sibTransId="{0C968E16-A94F-4B88-9879-E1EDA276621D}"/>
    <dgm:cxn modelId="{D6105BA5-EF21-49C6-88CB-30C404865F39}" srcId="{19306DE8-D217-4BFE-900E-639C0DBA340A}" destId="{C8772C1D-5BED-45EF-9A87-748FEE3D6D39}" srcOrd="1" destOrd="0" parTransId="{91FD34CB-F1D8-48F4-9FBA-3D6DABEDC22A}" sibTransId="{63C74E9E-22A5-476B-A849-9AC3CAED3DF3}"/>
    <dgm:cxn modelId="{C48D49D0-41AF-4951-9547-81175362D0E7}" srcId="{19306DE8-D217-4BFE-900E-639C0DBA340A}" destId="{AC23E81B-8047-481A-A654-29410A890F46}" srcOrd="0" destOrd="0" parTransId="{5F741CB2-40F2-4C46-BDCC-3B8568A0A4EC}" sibTransId="{B61444A9-951F-4B00-ADD2-60C6FFF88CEC}"/>
    <dgm:cxn modelId="{9FC0DCEA-7FB9-4C1A-ADD2-F43DE4EB3651}" type="presOf" srcId="{C8772C1D-5BED-45EF-9A87-748FEE3D6D39}" destId="{96175F1F-1A01-4EFA-9837-C8B97DD85DA6}" srcOrd="0" destOrd="1" presId="urn:microsoft.com/office/officeart/2005/8/layout/vList2"/>
    <dgm:cxn modelId="{F4DFDA85-501D-4305-B061-8335E8C078CC}" type="presParOf" srcId="{A9978C1C-8ED1-4D77-A693-7E1301E3DD40}" destId="{2EC6B1C0-2C2B-4D8C-97D1-BB2E293B81DB}" srcOrd="0" destOrd="0" presId="urn:microsoft.com/office/officeart/2005/8/layout/vList2"/>
    <dgm:cxn modelId="{7EFC13A8-851C-4ECE-BD05-B6BAC3357DA4}" type="presParOf" srcId="{A9978C1C-8ED1-4D77-A693-7E1301E3DD40}" destId="{96175F1F-1A01-4EFA-9837-C8B97DD85DA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4DA50F-196B-43D7-B43C-CACE6CE98112}" type="doc">
      <dgm:prSet loTypeId="urn:microsoft.com/office/officeart/2005/8/layout/vList2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IN"/>
        </a:p>
      </dgm:t>
    </dgm:pt>
    <dgm:pt modelId="{19306DE8-D217-4BFE-900E-639C0DBA340A}">
      <dgm:prSet/>
      <dgm:spPr/>
      <dgm:t>
        <a:bodyPr/>
        <a:lstStyle/>
        <a:p>
          <a:r>
            <a:rPr lang="en-IN" dirty="0" err="1"/>
            <a:t>Pipelines.yaml</a:t>
          </a:r>
          <a:endParaRPr lang="en-IN" dirty="0"/>
        </a:p>
      </dgm:t>
    </dgm:pt>
    <dgm:pt modelId="{CE3EE83C-2503-4319-ABCD-508EB7824C4A}" type="parTrans" cxnId="{8766CF9B-09CA-440E-88CB-AC9FC9CD417D}">
      <dgm:prSet/>
      <dgm:spPr/>
      <dgm:t>
        <a:bodyPr/>
        <a:lstStyle/>
        <a:p>
          <a:endParaRPr lang="en-IN"/>
        </a:p>
      </dgm:t>
    </dgm:pt>
    <dgm:pt modelId="{0C968E16-A94F-4B88-9879-E1EDA276621D}" type="sibTrans" cxnId="{8766CF9B-09CA-440E-88CB-AC9FC9CD417D}">
      <dgm:prSet/>
      <dgm:spPr/>
      <dgm:t>
        <a:bodyPr/>
        <a:lstStyle/>
        <a:p>
          <a:endParaRPr lang="en-IN"/>
        </a:p>
      </dgm:t>
    </dgm:pt>
    <dgm:pt modelId="{AC23E81B-8047-481A-A654-29410A890F46}">
      <dgm:prSet/>
      <dgm:spPr/>
      <dgm:t>
        <a:bodyPr/>
        <a:lstStyle/>
        <a:p>
          <a:pPr>
            <a:buNone/>
          </a:pPr>
          <a:r>
            <a:rPr lang="en-IN" dirty="0" err="1">
              <a:solidFill>
                <a:schemeClr val="accent1"/>
              </a:solidFill>
            </a:rPr>
            <a:t>aws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msk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arn</a:t>
          </a:r>
          <a:r>
            <a:rPr lang="en-IN" dirty="0">
              <a:solidFill>
                <a:schemeClr val="accent1"/>
              </a:solidFill>
            </a:rPr>
            <a:t>: </a:t>
          </a:r>
          <a:r>
            <a:rPr lang="en-IN" dirty="0" err="1">
              <a:solidFill>
                <a:schemeClr val="accent1"/>
              </a:solidFill>
            </a:rPr>
            <a:t>service_ar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broker_connection_type</a:t>
          </a:r>
          <a:r>
            <a:rPr lang="en-IN" dirty="0">
              <a:solidFill>
                <a:schemeClr val="accent1"/>
              </a:solidFill>
            </a:rPr>
            <a:t>: public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region: us-east-2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sts_role_arn</a:t>
          </a:r>
          <a:r>
            <a:rPr lang="en-IN" dirty="0">
              <a:solidFill>
                <a:schemeClr val="accent1"/>
              </a:solidFill>
            </a:rPr>
            <a:t>: </a:t>
          </a:r>
          <a:r>
            <a:rPr lang="en-IN" dirty="0" err="1">
              <a:solidFill>
                <a:schemeClr val="accent1"/>
              </a:solidFill>
            </a:rPr>
            <a:t>sts_role_ar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authentication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insecure: true/false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sasl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</a:t>
          </a:r>
          <a:r>
            <a:rPr lang="en-IN" dirty="0" err="1">
              <a:solidFill>
                <a:schemeClr val="accent1"/>
              </a:solidFill>
            </a:rPr>
            <a:t>msk_iam</a:t>
          </a:r>
          <a:r>
            <a:rPr lang="en-IN" dirty="0">
              <a:solidFill>
                <a:schemeClr val="accent1"/>
              </a:solidFill>
            </a:rPr>
            <a:t>: role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plaintext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</a:t>
          </a:r>
          <a:r>
            <a:rPr lang="en-IN" dirty="0" err="1">
              <a:solidFill>
                <a:schemeClr val="accent1"/>
              </a:solidFill>
            </a:rPr>
            <a:t>security_protocol</a:t>
          </a:r>
          <a:r>
            <a:rPr lang="en-IN" dirty="0">
              <a:solidFill>
                <a:schemeClr val="accent1"/>
              </a:solidFill>
            </a:rPr>
            <a:t>: SASL_SSL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username: 5UH4NID4OENKDIBI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    password: jCmncn77F9asfox3yhgZLCE95aIe1UubX</a:t>
          </a:r>
        </a:p>
      </dgm:t>
    </dgm:pt>
    <dgm:pt modelId="{5F741CB2-40F2-4C46-BDCC-3B8568A0A4EC}" type="parTrans" cxnId="{C48D49D0-41AF-4951-9547-81175362D0E7}">
      <dgm:prSet/>
      <dgm:spPr/>
      <dgm:t>
        <a:bodyPr/>
        <a:lstStyle/>
        <a:p>
          <a:endParaRPr lang="en-IN"/>
        </a:p>
      </dgm:t>
    </dgm:pt>
    <dgm:pt modelId="{B61444A9-951F-4B00-ADD2-60C6FFF88CEC}" type="sibTrans" cxnId="{C48D49D0-41AF-4951-9547-81175362D0E7}">
      <dgm:prSet/>
      <dgm:spPr/>
      <dgm:t>
        <a:bodyPr/>
        <a:lstStyle/>
        <a:p>
          <a:endParaRPr lang="en-IN"/>
        </a:p>
      </dgm:t>
    </dgm:pt>
    <dgm:pt modelId="{C8772C1D-5BED-45EF-9A87-748FEE3D6D39}">
      <dgm:prSet/>
      <dgm:spPr/>
      <dgm:t>
        <a:bodyPr/>
        <a:lstStyle/>
        <a:p>
          <a:pPr>
            <a:buNone/>
          </a:pPr>
          <a:endParaRPr lang="en-IN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FD34CB-F1D8-48F4-9FBA-3D6DABEDC22A}" type="parTrans" cxnId="{D6105BA5-EF21-49C6-88CB-30C404865F39}">
      <dgm:prSet/>
      <dgm:spPr/>
      <dgm:t>
        <a:bodyPr/>
        <a:lstStyle/>
        <a:p>
          <a:endParaRPr lang="en-IN"/>
        </a:p>
      </dgm:t>
    </dgm:pt>
    <dgm:pt modelId="{63C74E9E-22A5-476B-A849-9AC3CAED3DF3}" type="sibTrans" cxnId="{D6105BA5-EF21-49C6-88CB-30C404865F39}">
      <dgm:prSet/>
      <dgm:spPr/>
      <dgm:t>
        <a:bodyPr/>
        <a:lstStyle/>
        <a:p>
          <a:endParaRPr lang="en-IN"/>
        </a:p>
      </dgm:t>
    </dgm:pt>
    <dgm:pt modelId="{A9978C1C-8ED1-4D77-A693-7E1301E3DD40}" type="pres">
      <dgm:prSet presAssocID="{544DA50F-196B-43D7-B43C-CACE6CE98112}" presName="linear" presStyleCnt="0">
        <dgm:presLayoutVars>
          <dgm:animLvl val="lvl"/>
          <dgm:resizeHandles val="exact"/>
        </dgm:presLayoutVars>
      </dgm:prSet>
      <dgm:spPr/>
    </dgm:pt>
    <dgm:pt modelId="{2EC6B1C0-2C2B-4D8C-97D1-BB2E293B81DB}" type="pres">
      <dgm:prSet presAssocID="{19306DE8-D217-4BFE-900E-639C0DBA340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96175F1F-1A01-4EFA-9837-C8B97DD85DA6}" type="pres">
      <dgm:prSet presAssocID="{19306DE8-D217-4BFE-900E-639C0DBA340A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9D85D03-EE56-4C00-8734-B2A09C5B3119}" type="presOf" srcId="{544DA50F-196B-43D7-B43C-CACE6CE98112}" destId="{A9978C1C-8ED1-4D77-A693-7E1301E3DD40}" srcOrd="0" destOrd="0" presId="urn:microsoft.com/office/officeart/2005/8/layout/vList2"/>
    <dgm:cxn modelId="{A581470E-0BFF-41DF-8833-369127FD848F}" type="presOf" srcId="{19306DE8-D217-4BFE-900E-639C0DBA340A}" destId="{2EC6B1C0-2C2B-4D8C-97D1-BB2E293B81DB}" srcOrd="0" destOrd="0" presId="urn:microsoft.com/office/officeart/2005/8/layout/vList2"/>
    <dgm:cxn modelId="{2280092B-EC1F-46CD-A3F7-68351D73A01B}" type="presOf" srcId="{AC23E81B-8047-481A-A654-29410A890F46}" destId="{96175F1F-1A01-4EFA-9837-C8B97DD85DA6}" srcOrd="0" destOrd="0" presId="urn:microsoft.com/office/officeart/2005/8/layout/vList2"/>
    <dgm:cxn modelId="{8766CF9B-09CA-440E-88CB-AC9FC9CD417D}" srcId="{544DA50F-196B-43D7-B43C-CACE6CE98112}" destId="{19306DE8-D217-4BFE-900E-639C0DBA340A}" srcOrd="0" destOrd="0" parTransId="{CE3EE83C-2503-4319-ABCD-508EB7824C4A}" sibTransId="{0C968E16-A94F-4B88-9879-E1EDA276621D}"/>
    <dgm:cxn modelId="{D6105BA5-EF21-49C6-88CB-30C404865F39}" srcId="{19306DE8-D217-4BFE-900E-639C0DBA340A}" destId="{C8772C1D-5BED-45EF-9A87-748FEE3D6D39}" srcOrd="1" destOrd="0" parTransId="{91FD34CB-F1D8-48F4-9FBA-3D6DABEDC22A}" sibTransId="{63C74E9E-22A5-476B-A849-9AC3CAED3DF3}"/>
    <dgm:cxn modelId="{C48D49D0-41AF-4951-9547-81175362D0E7}" srcId="{19306DE8-D217-4BFE-900E-639C0DBA340A}" destId="{AC23E81B-8047-481A-A654-29410A890F46}" srcOrd="0" destOrd="0" parTransId="{5F741CB2-40F2-4C46-BDCC-3B8568A0A4EC}" sibTransId="{B61444A9-951F-4B00-ADD2-60C6FFF88CEC}"/>
    <dgm:cxn modelId="{9FC0DCEA-7FB9-4C1A-ADD2-F43DE4EB3651}" type="presOf" srcId="{C8772C1D-5BED-45EF-9A87-748FEE3D6D39}" destId="{96175F1F-1A01-4EFA-9837-C8B97DD85DA6}" srcOrd="0" destOrd="1" presId="urn:microsoft.com/office/officeart/2005/8/layout/vList2"/>
    <dgm:cxn modelId="{F4DFDA85-501D-4305-B061-8335E8C078CC}" type="presParOf" srcId="{A9978C1C-8ED1-4D77-A693-7E1301E3DD40}" destId="{2EC6B1C0-2C2B-4D8C-97D1-BB2E293B81DB}" srcOrd="0" destOrd="0" presId="urn:microsoft.com/office/officeart/2005/8/layout/vList2"/>
    <dgm:cxn modelId="{7EFC13A8-851C-4ECE-BD05-B6BAC3357DA4}" type="presParOf" srcId="{A9978C1C-8ED1-4D77-A693-7E1301E3DD40}" destId="{96175F1F-1A01-4EFA-9837-C8B97DD85DA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4DA50F-196B-43D7-B43C-CACE6CE98112}" type="doc">
      <dgm:prSet loTypeId="urn:microsoft.com/office/officeart/2005/8/layout/vList2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IN"/>
        </a:p>
      </dgm:t>
    </dgm:pt>
    <dgm:pt modelId="{19306DE8-D217-4BFE-900E-639C0DBA340A}">
      <dgm:prSet/>
      <dgm:spPr/>
      <dgm:t>
        <a:bodyPr/>
        <a:lstStyle/>
        <a:p>
          <a:r>
            <a:rPr lang="en-IN" dirty="0" err="1"/>
            <a:t>Pipelines.yaml</a:t>
          </a:r>
          <a:endParaRPr lang="en-IN" dirty="0"/>
        </a:p>
      </dgm:t>
    </dgm:pt>
    <dgm:pt modelId="{CE3EE83C-2503-4319-ABCD-508EB7824C4A}" type="parTrans" cxnId="{8766CF9B-09CA-440E-88CB-AC9FC9CD417D}">
      <dgm:prSet/>
      <dgm:spPr/>
      <dgm:t>
        <a:bodyPr/>
        <a:lstStyle/>
        <a:p>
          <a:endParaRPr lang="en-IN"/>
        </a:p>
      </dgm:t>
    </dgm:pt>
    <dgm:pt modelId="{0C968E16-A94F-4B88-9879-E1EDA276621D}" type="sibTrans" cxnId="{8766CF9B-09CA-440E-88CB-AC9FC9CD417D}">
      <dgm:prSet/>
      <dgm:spPr/>
      <dgm:t>
        <a:bodyPr/>
        <a:lstStyle/>
        <a:p>
          <a:endParaRPr lang="en-IN"/>
        </a:p>
      </dgm:t>
    </dgm:pt>
    <dgm:pt modelId="{AC23E81B-8047-481A-A654-29410A890F46}">
      <dgm:prSet/>
      <dgm:spPr/>
      <dgm:t>
        <a:bodyPr/>
        <a:lstStyle/>
        <a:p>
          <a:pPr>
            <a:buNone/>
          </a:pPr>
          <a:r>
            <a:rPr lang="en-IN" dirty="0" err="1">
              <a:solidFill>
                <a:schemeClr val="accent1"/>
              </a:solidFill>
            </a:rPr>
            <a:t>oauth</a:t>
          </a:r>
          <a:r>
            <a:rPr lang="en-IN" dirty="0">
              <a:solidFill>
                <a:schemeClr val="accent1"/>
              </a:solidFill>
            </a:rPr>
            <a:t>: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client_id</a:t>
          </a:r>
          <a:r>
            <a:rPr lang="en-IN" dirty="0">
              <a:solidFill>
                <a:schemeClr val="accent1"/>
              </a:solidFill>
            </a:rPr>
            <a:t>: 0oa9wc21447Pc5vsV5d7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client_secret</a:t>
          </a:r>
          <a:r>
            <a:rPr lang="en-IN" dirty="0">
              <a:solidFill>
                <a:schemeClr val="accent1"/>
              </a:solidFill>
            </a:rPr>
            <a:t>: aGmOfHqIEvBJGDxXAOOcatiE9PvsPgoEePx8IPPa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login_server</a:t>
          </a:r>
          <a:r>
            <a:rPr lang="en-IN" dirty="0">
              <a:solidFill>
                <a:schemeClr val="accent1"/>
              </a:solidFill>
            </a:rPr>
            <a:t>: https://dev-13650048.okta.com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login_endpoint</a:t>
          </a:r>
          <a:r>
            <a:rPr lang="en-IN" dirty="0">
              <a:solidFill>
                <a:schemeClr val="accent1"/>
              </a:solidFill>
            </a:rPr>
            <a:t>: /oauth2/default/v1/toke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login_grant_type</a:t>
          </a:r>
          <a:r>
            <a:rPr lang="en-IN" dirty="0">
              <a:solidFill>
                <a:schemeClr val="accent1"/>
              </a:solidFill>
            </a:rPr>
            <a:t>: </a:t>
          </a:r>
          <a:r>
            <a:rPr lang="en-IN" dirty="0" err="1">
              <a:solidFill>
                <a:schemeClr val="accent1"/>
              </a:solidFill>
            </a:rPr>
            <a:t>refresh_toke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login_scope</a:t>
          </a:r>
          <a:r>
            <a:rPr lang="en-IN" dirty="0">
              <a:solidFill>
                <a:schemeClr val="accent1"/>
              </a:solidFill>
            </a:rPr>
            <a:t>: </a:t>
          </a:r>
          <a:r>
            <a:rPr lang="en-IN" dirty="0" err="1">
              <a:solidFill>
                <a:schemeClr val="accent1"/>
              </a:solidFill>
            </a:rPr>
            <a:t>kafka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introspect_server</a:t>
          </a:r>
          <a:r>
            <a:rPr lang="en-IN" dirty="0">
              <a:solidFill>
                <a:schemeClr val="accent1"/>
              </a:solidFill>
            </a:rPr>
            <a:t>: https://dev-13650048.okta.com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introspect_endpoint</a:t>
          </a:r>
          <a:r>
            <a:rPr lang="en-IN" dirty="0">
              <a:solidFill>
                <a:schemeClr val="accent1"/>
              </a:solidFill>
            </a:rPr>
            <a:t>: /oauth2/default/v1/introspect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token_endpoint_url</a:t>
          </a:r>
          <a:r>
            <a:rPr lang="en-IN" dirty="0">
              <a:solidFill>
                <a:schemeClr val="accent1"/>
              </a:solidFill>
            </a:rPr>
            <a:t>: https://dev-13650048.okta.com/oauth2/default/v1/token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security_protocol</a:t>
          </a:r>
          <a:r>
            <a:rPr lang="en-IN" dirty="0">
              <a:solidFill>
                <a:schemeClr val="accent1"/>
              </a:solidFill>
            </a:rPr>
            <a:t>: SASL_SSL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sasl_mechanism</a:t>
          </a:r>
          <a:r>
            <a:rPr lang="en-IN" dirty="0">
              <a:solidFill>
                <a:schemeClr val="accent1"/>
              </a:solidFill>
            </a:rPr>
            <a:t>: OAUTHBEARER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sasl_login_callback_handler_class</a:t>
          </a:r>
          <a:r>
            <a:rPr lang="en-IN" dirty="0">
              <a:solidFill>
                <a:schemeClr val="accent1"/>
              </a:solidFill>
            </a:rPr>
            <a:t>: org.apache.kafka.common.security.oauthbearer.secured.OAuthBearerLoginCallbackHandler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oauth_jwks_endpoint_url</a:t>
          </a:r>
          <a:r>
            <a:rPr lang="en-IN" dirty="0">
              <a:solidFill>
                <a:schemeClr val="accent1"/>
              </a:solidFill>
            </a:rPr>
            <a:t>: https://dev-13650048.okta.com/oauth2/default/v1/keys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extension_logicalCluster</a:t>
          </a:r>
          <a:r>
            <a:rPr lang="en-IN" dirty="0">
              <a:solidFill>
                <a:schemeClr val="accent1"/>
              </a:solidFill>
            </a:rPr>
            <a:t>: lkc-yggz7j</a:t>
          </a:r>
          <a:br>
            <a:rPr lang="en-IN" dirty="0">
              <a:solidFill>
                <a:schemeClr val="accent1"/>
              </a:solidFill>
            </a:rPr>
          </a:br>
          <a:r>
            <a:rPr lang="en-IN" dirty="0">
              <a:solidFill>
                <a:schemeClr val="accent1"/>
              </a:solidFill>
            </a:rPr>
            <a:t>  </a:t>
          </a:r>
          <a:r>
            <a:rPr lang="en-IN" dirty="0" err="1">
              <a:solidFill>
                <a:schemeClr val="accent1"/>
              </a:solidFill>
            </a:rPr>
            <a:t>extension_identityPoolId</a:t>
          </a:r>
          <a:r>
            <a:rPr lang="en-IN" dirty="0">
              <a:solidFill>
                <a:schemeClr val="accent1"/>
              </a:solidFill>
            </a:rPr>
            <a:t>: pool-</a:t>
          </a:r>
          <a:r>
            <a:rPr lang="en-IN" dirty="0" err="1">
              <a:solidFill>
                <a:schemeClr val="accent1"/>
              </a:solidFill>
            </a:rPr>
            <a:t>RXzn</a:t>
          </a:r>
          <a:endParaRPr lang="en-IN" dirty="0">
            <a:solidFill>
              <a:schemeClr val="accent1"/>
            </a:solidFill>
          </a:endParaRPr>
        </a:p>
      </dgm:t>
    </dgm:pt>
    <dgm:pt modelId="{5F741CB2-40F2-4C46-BDCC-3B8568A0A4EC}" type="parTrans" cxnId="{C48D49D0-41AF-4951-9547-81175362D0E7}">
      <dgm:prSet/>
      <dgm:spPr/>
      <dgm:t>
        <a:bodyPr/>
        <a:lstStyle/>
        <a:p>
          <a:endParaRPr lang="en-IN"/>
        </a:p>
      </dgm:t>
    </dgm:pt>
    <dgm:pt modelId="{B61444A9-951F-4B00-ADD2-60C6FFF88CEC}" type="sibTrans" cxnId="{C48D49D0-41AF-4951-9547-81175362D0E7}">
      <dgm:prSet/>
      <dgm:spPr/>
      <dgm:t>
        <a:bodyPr/>
        <a:lstStyle/>
        <a:p>
          <a:endParaRPr lang="en-IN"/>
        </a:p>
      </dgm:t>
    </dgm:pt>
    <dgm:pt modelId="{A9978C1C-8ED1-4D77-A693-7E1301E3DD40}" type="pres">
      <dgm:prSet presAssocID="{544DA50F-196B-43D7-B43C-CACE6CE98112}" presName="linear" presStyleCnt="0">
        <dgm:presLayoutVars>
          <dgm:animLvl val="lvl"/>
          <dgm:resizeHandles val="exact"/>
        </dgm:presLayoutVars>
      </dgm:prSet>
      <dgm:spPr/>
    </dgm:pt>
    <dgm:pt modelId="{2EC6B1C0-2C2B-4D8C-97D1-BB2E293B81DB}" type="pres">
      <dgm:prSet presAssocID="{19306DE8-D217-4BFE-900E-639C0DBA340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96175F1F-1A01-4EFA-9837-C8B97DD85DA6}" type="pres">
      <dgm:prSet presAssocID="{19306DE8-D217-4BFE-900E-639C0DBA340A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9D85D03-EE56-4C00-8734-B2A09C5B3119}" type="presOf" srcId="{544DA50F-196B-43D7-B43C-CACE6CE98112}" destId="{A9978C1C-8ED1-4D77-A693-7E1301E3DD40}" srcOrd="0" destOrd="0" presId="urn:microsoft.com/office/officeart/2005/8/layout/vList2"/>
    <dgm:cxn modelId="{A581470E-0BFF-41DF-8833-369127FD848F}" type="presOf" srcId="{19306DE8-D217-4BFE-900E-639C0DBA340A}" destId="{2EC6B1C0-2C2B-4D8C-97D1-BB2E293B81DB}" srcOrd="0" destOrd="0" presId="urn:microsoft.com/office/officeart/2005/8/layout/vList2"/>
    <dgm:cxn modelId="{2280092B-EC1F-46CD-A3F7-68351D73A01B}" type="presOf" srcId="{AC23E81B-8047-481A-A654-29410A890F46}" destId="{96175F1F-1A01-4EFA-9837-C8B97DD85DA6}" srcOrd="0" destOrd="0" presId="urn:microsoft.com/office/officeart/2005/8/layout/vList2"/>
    <dgm:cxn modelId="{8766CF9B-09CA-440E-88CB-AC9FC9CD417D}" srcId="{544DA50F-196B-43D7-B43C-CACE6CE98112}" destId="{19306DE8-D217-4BFE-900E-639C0DBA340A}" srcOrd="0" destOrd="0" parTransId="{CE3EE83C-2503-4319-ABCD-508EB7824C4A}" sibTransId="{0C968E16-A94F-4B88-9879-E1EDA276621D}"/>
    <dgm:cxn modelId="{C48D49D0-41AF-4951-9547-81175362D0E7}" srcId="{19306DE8-D217-4BFE-900E-639C0DBA340A}" destId="{AC23E81B-8047-481A-A654-29410A890F46}" srcOrd="0" destOrd="0" parTransId="{5F741CB2-40F2-4C46-BDCC-3B8568A0A4EC}" sibTransId="{B61444A9-951F-4B00-ADD2-60C6FFF88CEC}"/>
    <dgm:cxn modelId="{F4DFDA85-501D-4305-B061-8335E8C078CC}" type="presParOf" srcId="{A9978C1C-8ED1-4D77-A693-7E1301E3DD40}" destId="{2EC6B1C0-2C2B-4D8C-97D1-BB2E293B81DB}" srcOrd="0" destOrd="0" presId="urn:microsoft.com/office/officeart/2005/8/layout/vList2"/>
    <dgm:cxn modelId="{7EFC13A8-851C-4ECE-BD05-B6BAC3357DA4}" type="presParOf" srcId="{A9978C1C-8ED1-4D77-A693-7E1301E3DD40}" destId="{96175F1F-1A01-4EFA-9837-C8B97DD85DA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2388C9-60A0-4201-8CAD-7DCFD4FAE953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6462724D-D207-425A-A2FE-E5EF57A7E05B}">
      <dgm:prSet/>
      <dgm:spPr/>
      <dgm:t>
        <a:bodyPr/>
        <a:lstStyle/>
        <a:p>
          <a:r>
            <a:rPr lang="en-IN" dirty="0"/>
            <a:t>Multithreaded Kafka source consumer</a:t>
          </a:r>
        </a:p>
      </dgm:t>
    </dgm:pt>
    <dgm:pt modelId="{4184621E-E590-415D-91F9-863BBD97D290}" type="parTrans" cxnId="{1546FB97-0047-48E1-9560-0A7FF0588022}">
      <dgm:prSet/>
      <dgm:spPr/>
      <dgm:t>
        <a:bodyPr/>
        <a:lstStyle/>
        <a:p>
          <a:endParaRPr lang="en-IN"/>
        </a:p>
      </dgm:t>
    </dgm:pt>
    <dgm:pt modelId="{9AC5FB5D-A8DD-400B-9AC7-7725D7A0ED7F}" type="sibTrans" cxnId="{1546FB97-0047-48E1-9560-0A7FF0588022}">
      <dgm:prSet/>
      <dgm:spPr/>
      <dgm:t>
        <a:bodyPr/>
        <a:lstStyle/>
        <a:p>
          <a:endParaRPr lang="en-IN"/>
        </a:p>
      </dgm:t>
    </dgm:pt>
    <dgm:pt modelId="{C26383E5-25A6-4F0C-9DFB-1C3EEA2BD708}">
      <dgm:prSet/>
      <dgm:spPr/>
      <dgm:t>
        <a:bodyPr/>
        <a:lstStyle/>
        <a:p>
          <a:r>
            <a:rPr lang="en-US" dirty="0" err="1"/>
            <a:t>Deserializer</a:t>
          </a:r>
          <a:r>
            <a:rPr lang="en-US" dirty="0"/>
            <a:t> for JSON</a:t>
          </a:r>
          <a:endParaRPr lang="en-IN" dirty="0"/>
        </a:p>
      </dgm:t>
    </dgm:pt>
    <dgm:pt modelId="{FF833289-9D72-4464-BDCF-AE742DA43011}" type="parTrans" cxnId="{6F78D917-68C5-4A41-B06E-C067A806BBF1}">
      <dgm:prSet/>
      <dgm:spPr/>
      <dgm:t>
        <a:bodyPr/>
        <a:lstStyle/>
        <a:p>
          <a:endParaRPr lang="en-IN"/>
        </a:p>
      </dgm:t>
    </dgm:pt>
    <dgm:pt modelId="{270E54AF-1B03-432F-8017-6761B8A71AF4}" type="sibTrans" cxnId="{6F78D917-68C5-4A41-B06E-C067A806BBF1}">
      <dgm:prSet/>
      <dgm:spPr/>
      <dgm:t>
        <a:bodyPr/>
        <a:lstStyle/>
        <a:p>
          <a:endParaRPr lang="en-IN"/>
        </a:p>
      </dgm:t>
    </dgm:pt>
    <dgm:pt modelId="{AFFC2DED-10EF-4933-B886-C31F6992ACF0}">
      <dgm:prSet/>
      <dgm:spPr/>
      <dgm:t>
        <a:bodyPr/>
        <a:lstStyle/>
        <a:p>
          <a:r>
            <a:rPr lang="en-US" dirty="0"/>
            <a:t>Single broker with multi topic</a:t>
          </a:r>
          <a:endParaRPr lang="en-IN" dirty="0"/>
        </a:p>
      </dgm:t>
    </dgm:pt>
    <dgm:pt modelId="{327965E0-F918-477E-8434-884A11CE4874}" type="parTrans" cxnId="{FD9837A5-DA5A-48A1-9883-1A99C10569DD}">
      <dgm:prSet/>
      <dgm:spPr/>
      <dgm:t>
        <a:bodyPr/>
        <a:lstStyle/>
        <a:p>
          <a:endParaRPr lang="en-IN"/>
        </a:p>
      </dgm:t>
    </dgm:pt>
    <dgm:pt modelId="{ED4D0C90-9CF0-47CA-8AF5-4BEAF10B8DF7}" type="sibTrans" cxnId="{FD9837A5-DA5A-48A1-9883-1A99C10569DD}">
      <dgm:prSet/>
      <dgm:spPr/>
      <dgm:t>
        <a:bodyPr/>
        <a:lstStyle/>
        <a:p>
          <a:endParaRPr lang="en-IN"/>
        </a:p>
      </dgm:t>
    </dgm:pt>
    <dgm:pt modelId="{B7259284-BB87-4474-8CE9-D0D9B398BAAB}">
      <dgm:prSet/>
      <dgm:spPr/>
      <dgm:t>
        <a:bodyPr/>
        <a:lstStyle/>
        <a:p>
          <a:r>
            <a:rPr lang="en-US" dirty="0"/>
            <a:t>Multiple data-prepper instance  	with multi topic</a:t>
          </a:r>
          <a:endParaRPr lang="en-IN" dirty="0"/>
        </a:p>
      </dgm:t>
    </dgm:pt>
    <dgm:pt modelId="{350A7202-75F3-4067-9C7C-9BAB6B11984F}" type="parTrans" cxnId="{5FE85266-6B21-41FE-BCF7-5FE239304D99}">
      <dgm:prSet/>
      <dgm:spPr/>
      <dgm:t>
        <a:bodyPr/>
        <a:lstStyle/>
        <a:p>
          <a:endParaRPr lang="en-IN"/>
        </a:p>
      </dgm:t>
    </dgm:pt>
    <dgm:pt modelId="{86BA5F64-83AD-4BC4-B1F1-7DCBAB1FCD73}" type="sibTrans" cxnId="{5FE85266-6B21-41FE-BCF7-5FE239304D99}">
      <dgm:prSet/>
      <dgm:spPr/>
      <dgm:t>
        <a:bodyPr/>
        <a:lstStyle/>
        <a:p>
          <a:endParaRPr lang="en-IN"/>
        </a:p>
      </dgm:t>
    </dgm:pt>
    <dgm:pt modelId="{BC310BE2-8982-471F-BB15-EFC94AE0AE80}">
      <dgm:prSet/>
      <dgm:spPr/>
      <dgm:t>
        <a:bodyPr/>
        <a:lstStyle/>
        <a:p>
          <a:r>
            <a:rPr lang="en-US" dirty="0" err="1"/>
            <a:t>Deserializer</a:t>
          </a:r>
          <a:r>
            <a:rPr lang="en-US" dirty="0"/>
            <a:t> for Plain Text / </a:t>
          </a:r>
          <a:r>
            <a:rPr lang="en-US" dirty="0" err="1"/>
            <a:t>Json</a:t>
          </a:r>
          <a:r>
            <a:rPr lang="en-US" dirty="0"/>
            <a:t>/ Avro</a:t>
          </a:r>
          <a:endParaRPr lang="en-IN" dirty="0"/>
        </a:p>
      </dgm:t>
    </dgm:pt>
    <dgm:pt modelId="{1F2C1C8A-12F8-408A-8712-0A79817AEEEC}" type="sibTrans" cxnId="{8D3F2F4F-CCE4-4E48-A6D5-1EF0EDAD67B2}">
      <dgm:prSet/>
      <dgm:spPr/>
      <dgm:t>
        <a:bodyPr/>
        <a:lstStyle/>
        <a:p>
          <a:endParaRPr lang="en-IN"/>
        </a:p>
      </dgm:t>
    </dgm:pt>
    <dgm:pt modelId="{60D07582-ECF4-45B6-B80A-0BEC256571EF}" type="parTrans" cxnId="{8D3F2F4F-CCE4-4E48-A6D5-1EF0EDAD67B2}">
      <dgm:prSet/>
      <dgm:spPr/>
      <dgm:t>
        <a:bodyPr/>
        <a:lstStyle/>
        <a:p>
          <a:endParaRPr lang="en-IN"/>
        </a:p>
      </dgm:t>
    </dgm:pt>
    <dgm:pt modelId="{9E80E537-FE9E-4943-957F-2151E346CA62}" type="pres">
      <dgm:prSet presAssocID="{3F2388C9-60A0-4201-8CAD-7DCFD4FAE953}" presName="linear" presStyleCnt="0">
        <dgm:presLayoutVars>
          <dgm:animLvl val="lvl"/>
          <dgm:resizeHandles val="exact"/>
        </dgm:presLayoutVars>
      </dgm:prSet>
      <dgm:spPr/>
    </dgm:pt>
    <dgm:pt modelId="{960325ED-7E83-4725-80C5-D5753481BC2E}" type="pres">
      <dgm:prSet presAssocID="{6462724D-D207-425A-A2FE-E5EF57A7E05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1CE52710-331D-4490-8299-BFB9BF536BE4}" type="pres">
      <dgm:prSet presAssocID="{9AC5FB5D-A8DD-400B-9AC7-7725D7A0ED7F}" presName="spacer" presStyleCnt="0"/>
      <dgm:spPr/>
    </dgm:pt>
    <dgm:pt modelId="{6B27437E-D37C-49DA-9CF2-42346F96EFC0}" type="pres">
      <dgm:prSet presAssocID="{BC310BE2-8982-471F-BB15-EFC94AE0AE80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8AA70FA-B7FE-4AB9-87AB-72C03B8BC2EA}" type="pres">
      <dgm:prSet presAssocID="{1F2C1C8A-12F8-408A-8712-0A79817AEEEC}" presName="spacer" presStyleCnt="0"/>
      <dgm:spPr/>
    </dgm:pt>
    <dgm:pt modelId="{6CC9FB01-2C93-497A-A8D2-D608E193F767}" type="pres">
      <dgm:prSet presAssocID="{C26383E5-25A6-4F0C-9DFB-1C3EEA2BD708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1A67CDA-8A91-4884-B795-9F95A86753DD}" type="pres">
      <dgm:prSet presAssocID="{270E54AF-1B03-432F-8017-6761B8A71AF4}" presName="spacer" presStyleCnt="0"/>
      <dgm:spPr/>
    </dgm:pt>
    <dgm:pt modelId="{AB3E7517-4C53-4353-8FF2-D1D44D6CCD15}" type="pres">
      <dgm:prSet presAssocID="{AFFC2DED-10EF-4933-B886-C31F6992ACF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3763F101-CDB4-452B-822A-6061420F6677}" type="pres">
      <dgm:prSet presAssocID="{ED4D0C90-9CF0-47CA-8AF5-4BEAF10B8DF7}" presName="spacer" presStyleCnt="0"/>
      <dgm:spPr/>
    </dgm:pt>
    <dgm:pt modelId="{F2D7AF73-131C-41CE-81E6-36C3A7A54D9C}" type="pres">
      <dgm:prSet presAssocID="{B7259284-BB87-4474-8CE9-D0D9B398BAAB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6F78D917-68C5-4A41-B06E-C067A806BBF1}" srcId="{3F2388C9-60A0-4201-8CAD-7DCFD4FAE953}" destId="{C26383E5-25A6-4F0C-9DFB-1C3EEA2BD708}" srcOrd="2" destOrd="0" parTransId="{FF833289-9D72-4464-BDCF-AE742DA43011}" sibTransId="{270E54AF-1B03-432F-8017-6761B8A71AF4}"/>
    <dgm:cxn modelId="{21B09E61-DBE6-4F3A-B18A-0274D3A1900A}" type="presOf" srcId="{C26383E5-25A6-4F0C-9DFB-1C3EEA2BD708}" destId="{6CC9FB01-2C93-497A-A8D2-D608E193F767}" srcOrd="0" destOrd="0" presId="urn:microsoft.com/office/officeart/2005/8/layout/vList2"/>
    <dgm:cxn modelId="{5FE85266-6B21-41FE-BCF7-5FE239304D99}" srcId="{3F2388C9-60A0-4201-8CAD-7DCFD4FAE953}" destId="{B7259284-BB87-4474-8CE9-D0D9B398BAAB}" srcOrd="4" destOrd="0" parTransId="{350A7202-75F3-4067-9C7C-9BAB6B11984F}" sibTransId="{86BA5F64-83AD-4BC4-B1F1-7DCBAB1FCD73}"/>
    <dgm:cxn modelId="{8D3F2F4F-CCE4-4E48-A6D5-1EF0EDAD67B2}" srcId="{3F2388C9-60A0-4201-8CAD-7DCFD4FAE953}" destId="{BC310BE2-8982-471F-BB15-EFC94AE0AE80}" srcOrd="1" destOrd="0" parTransId="{60D07582-ECF4-45B6-B80A-0BEC256571EF}" sibTransId="{1F2C1C8A-12F8-408A-8712-0A79817AEEEC}"/>
    <dgm:cxn modelId="{9F570F57-9DE4-4F2D-A04F-2244B2DFDCAE}" type="presOf" srcId="{AFFC2DED-10EF-4933-B886-C31F6992ACF0}" destId="{AB3E7517-4C53-4353-8FF2-D1D44D6CCD15}" srcOrd="0" destOrd="0" presId="urn:microsoft.com/office/officeart/2005/8/layout/vList2"/>
    <dgm:cxn modelId="{100F3C87-676F-4EFA-B945-B4E15207E0A4}" type="presOf" srcId="{3F2388C9-60A0-4201-8CAD-7DCFD4FAE953}" destId="{9E80E537-FE9E-4943-957F-2151E346CA62}" srcOrd="0" destOrd="0" presId="urn:microsoft.com/office/officeart/2005/8/layout/vList2"/>
    <dgm:cxn modelId="{1546FB97-0047-48E1-9560-0A7FF0588022}" srcId="{3F2388C9-60A0-4201-8CAD-7DCFD4FAE953}" destId="{6462724D-D207-425A-A2FE-E5EF57A7E05B}" srcOrd="0" destOrd="0" parTransId="{4184621E-E590-415D-91F9-863BBD97D290}" sibTransId="{9AC5FB5D-A8DD-400B-9AC7-7725D7A0ED7F}"/>
    <dgm:cxn modelId="{02C0FA98-B05C-4CAD-8AFA-D7D4D0E1AFEE}" type="presOf" srcId="{BC310BE2-8982-471F-BB15-EFC94AE0AE80}" destId="{6B27437E-D37C-49DA-9CF2-42346F96EFC0}" srcOrd="0" destOrd="0" presId="urn:microsoft.com/office/officeart/2005/8/layout/vList2"/>
    <dgm:cxn modelId="{FD9837A5-DA5A-48A1-9883-1A99C10569DD}" srcId="{3F2388C9-60A0-4201-8CAD-7DCFD4FAE953}" destId="{AFFC2DED-10EF-4933-B886-C31F6992ACF0}" srcOrd="3" destOrd="0" parTransId="{327965E0-F918-477E-8434-884A11CE4874}" sibTransId="{ED4D0C90-9CF0-47CA-8AF5-4BEAF10B8DF7}"/>
    <dgm:cxn modelId="{C1D19AB1-ED13-41EC-ACF4-D1065F662E6B}" type="presOf" srcId="{6462724D-D207-425A-A2FE-E5EF57A7E05B}" destId="{960325ED-7E83-4725-80C5-D5753481BC2E}" srcOrd="0" destOrd="0" presId="urn:microsoft.com/office/officeart/2005/8/layout/vList2"/>
    <dgm:cxn modelId="{3A7119C3-46EC-44B2-879E-7AE5FE83B7B8}" type="presOf" srcId="{B7259284-BB87-4474-8CE9-D0D9B398BAAB}" destId="{F2D7AF73-131C-41CE-81E6-36C3A7A54D9C}" srcOrd="0" destOrd="0" presId="urn:microsoft.com/office/officeart/2005/8/layout/vList2"/>
    <dgm:cxn modelId="{DF4F1015-A1F7-4745-AD05-297C3063688E}" type="presParOf" srcId="{9E80E537-FE9E-4943-957F-2151E346CA62}" destId="{960325ED-7E83-4725-80C5-D5753481BC2E}" srcOrd="0" destOrd="0" presId="urn:microsoft.com/office/officeart/2005/8/layout/vList2"/>
    <dgm:cxn modelId="{6C53EEE4-A4C5-431C-B208-817EDDF80C69}" type="presParOf" srcId="{9E80E537-FE9E-4943-957F-2151E346CA62}" destId="{1CE52710-331D-4490-8299-BFB9BF536BE4}" srcOrd="1" destOrd="0" presId="urn:microsoft.com/office/officeart/2005/8/layout/vList2"/>
    <dgm:cxn modelId="{2365FD2C-A89F-4E76-9FD0-6C319E9489C6}" type="presParOf" srcId="{9E80E537-FE9E-4943-957F-2151E346CA62}" destId="{6B27437E-D37C-49DA-9CF2-42346F96EFC0}" srcOrd="2" destOrd="0" presId="urn:microsoft.com/office/officeart/2005/8/layout/vList2"/>
    <dgm:cxn modelId="{D9D10A44-C78B-4733-AB67-34293DE3092C}" type="presParOf" srcId="{9E80E537-FE9E-4943-957F-2151E346CA62}" destId="{88AA70FA-B7FE-4AB9-87AB-72C03B8BC2EA}" srcOrd="3" destOrd="0" presId="urn:microsoft.com/office/officeart/2005/8/layout/vList2"/>
    <dgm:cxn modelId="{7267B45C-E484-4F2B-ADBB-E45FA75C7214}" type="presParOf" srcId="{9E80E537-FE9E-4943-957F-2151E346CA62}" destId="{6CC9FB01-2C93-497A-A8D2-D608E193F767}" srcOrd="4" destOrd="0" presId="urn:microsoft.com/office/officeart/2005/8/layout/vList2"/>
    <dgm:cxn modelId="{3809C698-62EF-4142-9502-7740E009AE67}" type="presParOf" srcId="{9E80E537-FE9E-4943-957F-2151E346CA62}" destId="{91A67CDA-8A91-4884-B795-9F95A86753DD}" srcOrd="5" destOrd="0" presId="urn:microsoft.com/office/officeart/2005/8/layout/vList2"/>
    <dgm:cxn modelId="{424C4600-8FB3-4E98-856F-97E065CECFE7}" type="presParOf" srcId="{9E80E537-FE9E-4943-957F-2151E346CA62}" destId="{AB3E7517-4C53-4353-8FF2-D1D44D6CCD15}" srcOrd="6" destOrd="0" presId="urn:microsoft.com/office/officeart/2005/8/layout/vList2"/>
    <dgm:cxn modelId="{04C6EBAE-D743-43D6-AABD-A5C5F5B37AD7}" type="presParOf" srcId="{9E80E537-FE9E-4943-957F-2151E346CA62}" destId="{3763F101-CDB4-452B-822A-6061420F6677}" srcOrd="7" destOrd="0" presId="urn:microsoft.com/office/officeart/2005/8/layout/vList2"/>
    <dgm:cxn modelId="{060267F9-6415-4E05-998F-8718F01B8958}" type="presParOf" srcId="{9E80E537-FE9E-4943-957F-2151E346CA62}" destId="{F2D7AF73-131C-41CE-81E6-36C3A7A54D9C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F2388C9-60A0-4201-8CAD-7DCFD4FAE953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6462724D-D207-425A-A2FE-E5EF57A7E05B}">
      <dgm:prSet/>
      <dgm:spPr/>
      <dgm:t>
        <a:bodyPr/>
        <a:lstStyle/>
        <a:p>
          <a:r>
            <a:rPr lang="en-IN" dirty="0"/>
            <a:t>Multiple broker with multi topic</a:t>
          </a:r>
        </a:p>
      </dgm:t>
    </dgm:pt>
    <dgm:pt modelId="{4184621E-E590-415D-91F9-863BBD97D290}" type="parTrans" cxnId="{1546FB97-0047-48E1-9560-0A7FF0588022}">
      <dgm:prSet/>
      <dgm:spPr/>
      <dgm:t>
        <a:bodyPr/>
        <a:lstStyle/>
        <a:p>
          <a:endParaRPr lang="en-IN"/>
        </a:p>
      </dgm:t>
    </dgm:pt>
    <dgm:pt modelId="{9AC5FB5D-A8DD-400B-9AC7-7725D7A0ED7F}" type="sibTrans" cxnId="{1546FB97-0047-48E1-9560-0A7FF0588022}">
      <dgm:prSet/>
      <dgm:spPr/>
      <dgm:t>
        <a:bodyPr/>
        <a:lstStyle/>
        <a:p>
          <a:endParaRPr lang="en-IN"/>
        </a:p>
      </dgm:t>
    </dgm:pt>
    <dgm:pt modelId="{C26383E5-25A6-4F0C-9DFB-1C3EEA2BD708}">
      <dgm:prSet/>
      <dgm:spPr/>
      <dgm:t>
        <a:bodyPr/>
        <a:lstStyle/>
        <a:p>
          <a:r>
            <a:rPr lang="en-IN" dirty="0"/>
            <a:t>Schema registry connectivity</a:t>
          </a:r>
        </a:p>
      </dgm:t>
    </dgm:pt>
    <dgm:pt modelId="{FF833289-9D72-4464-BDCF-AE742DA43011}" type="parTrans" cxnId="{6F78D917-68C5-4A41-B06E-C067A806BBF1}">
      <dgm:prSet/>
      <dgm:spPr/>
      <dgm:t>
        <a:bodyPr/>
        <a:lstStyle/>
        <a:p>
          <a:endParaRPr lang="en-IN"/>
        </a:p>
      </dgm:t>
    </dgm:pt>
    <dgm:pt modelId="{270E54AF-1B03-432F-8017-6761B8A71AF4}" type="sibTrans" cxnId="{6F78D917-68C5-4A41-B06E-C067A806BBF1}">
      <dgm:prSet/>
      <dgm:spPr/>
      <dgm:t>
        <a:bodyPr/>
        <a:lstStyle/>
        <a:p>
          <a:endParaRPr lang="en-IN"/>
        </a:p>
      </dgm:t>
    </dgm:pt>
    <dgm:pt modelId="{AFFC2DED-10EF-4933-B886-C31F6992ACF0}">
      <dgm:prSet/>
      <dgm:spPr/>
      <dgm:t>
        <a:bodyPr/>
        <a:lstStyle/>
        <a:p>
          <a:r>
            <a:rPr lang="en-IN" dirty="0"/>
            <a:t>Kafka cloud cluster connectivity</a:t>
          </a:r>
        </a:p>
      </dgm:t>
    </dgm:pt>
    <dgm:pt modelId="{327965E0-F918-477E-8434-884A11CE4874}" type="parTrans" cxnId="{FD9837A5-DA5A-48A1-9883-1A99C10569DD}">
      <dgm:prSet/>
      <dgm:spPr/>
      <dgm:t>
        <a:bodyPr/>
        <a:lstStyle/>
        <a:p>
          <a:endParaRPr lang="en-IN"/>
        </a:p>
      </dgm:t>
    </dgm:pt>
    <dgm:pt modelId="{ED4D0C90-9CF0-47CA-8AF5-4BEAF10B8DF7}" type="sibTrans" cxnId="{FD9837A5-DA5A-48A1-9883-1A99C10569DD}">
      <dgm:prSet/>
      <dgm:spPr/>
      <dgm:t>
        <a:bodyPr/>
        <a:lstStyle/>
        <a:p>
          <a:endParaRPr lang="en-IN"/>
        </a:p>
      </dgm:t>
    </dgm:pt>
    <dgm:pt modelId="{B7259284-BB87-4474-8CE9-D0D9B398BAAB}">
      <dgm:prSet/>
      <dgm:spPr/>
      <dgm:t>
        <a:bodyPr/>
        <a:lstStyle/>
        <a:p>
          <a:r>
            <a:rPr lang="en-IN" dirty="0"/>
            <a:t>Supports Confluent Schema registry and Okta </a:t>
          </a:r>
        </a:p>
      </dgm:t>
    </dgm:pt>
    <dgm:pt modelId="{350A7202-75F3-4067-9C7C-9BAB6B11984F}" type="parTrans" cxnId="{5FE85266-6B21-41FE-BCF7-5FE239304D99}">
      <dgm:prSet/>
      <dgm:spPr/>
      <dgm:t>
        <a:bodyPr/>
        <a:lstStyle/>
        <a:p>
          <a:endParaRPr lang="en-IN"/>
        </a:p>
      </dgm:t>
    </dgm:pt>
    <dgm:pt modelId="{86BA5F64-83AD-4BC4-B1F1-7DCBAB1FCD73}" type="sibTrans" cxnId="{5FE85266-6B21-41FE-BCF7-5FE239304D99}">
      <dgm:prSet/>
      <dgm:spPr/>
      <dgm:t>
        <a:bodyPr/>
        <a:lstStyle/>
        <a:p>
          <a:endParaRPr lang="en-IN"/>
        </a:p>
      </dgm:t>
    </dgm:pt>
    <dgm:pt modelId="{BC310BE2-8982-471F-BB15-EFC94AE0AE80}">
      <dgm:prSet/>
      <dgm:spPr/>
      <dgm:t>
        <a:bodyPr/>
        <a:lstStyle/>
        <a:p>
          <a:r>
            <a:rPr lang="en-IN" dirty="0"/>
            <a:t>Multiple broker – multi topic with multiple data-prepper instances </a:t>
          </a:r>
        </a:p>
      </dgm:t>
    </dgm:pt>
    <dgm:pt modelId="{1F2C1C8A-12F8-408A-8712-0A79817AEEEC}" type="sibTrans" cxnId="{8D3F2F4F-CCE4-4E48-A6D5-1EF0EDAD67B2}">
      <dgm:prSet/>
      <dgm:spPr/>
      <dgm:t>
        <a:bodyPr/>
        <a:lstStyle/>
        <a:p>
          <a:endParaRPr lang="en-IN"/>
        </a:p>
      </dgm:t>
    </dgm:pt>
    <dgm:pt modelId="{60D07582-ECF4-45B6-B80A-0BEC256571EF}" type="parTrans" cxnId="{8D3F2F4F-CCE4-4E48-A6D5-1EF0EDAD67B2}">
      <dgm:prSet/>
      <dgm:spPr/>
      <dgm:t>
        <a:bodyPr/>
        <a:lstStyle/>
        <a:p>
          <a:endParaRPr lang="en-IN"/>
        </a:p>
      </dgm:t>
    </dgm:pt>
    <dgm:pt modelId="{9E80E537-FE9E-4943-957F-2151E346CA62}" type="pres">
      <dgm:prSet presAssocID="{3F2388C9-60A0-4201-8CAD-7DCFD4FAE953}" presName="linear" presStyleCnt="0">
        <dgm:presLayoutVars>
          <dgm:animLvl val="lvl"/>
          <dgm:resizeHandles val="exact"/>
        </dgm:presLayoutVars>
      </dgm:prSet>
      <dgm:spPr/>
    </dgm:pt>
    <dgm:pt modelId="{960325ED-7E83-4725-80C5-D5753481BC2E}" type="pres">
      <dgm:prSet presAssocID="{6462724D-D207-425A-A2FE-E5EF57A7E05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1CE52710-331D-4490-8299-BFB9BF536BE4}" type="pres">
      <dgm:prSet presAssocID="{9AC5FB5D-A8DD-400B-9AC7-7725D7A0ED7F}" presName="spacer" presStyleCnt="0"/>
      <dgm:spPr/>
    </dgm:pt>
    <dgm:pt modelId="{6B27437E-D37C-49DA-9CF2-42346F96EFC0}" type="pres">
      <dgm:prSet presAssocID="{BC310BE2-8982-471F-BB15-EFC94AE0AE80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8AA70FA-B7FE-4AB9-87AB-72C03B8BC2EA}" type="pres">
      <dgm:prSet presAssocID="{1F2C1C8A-12F8-408A-8712-0A79817AEEEC}" presName="spacer" presStyleCnt="0"/>
      <dgm:spPr/>
    </dgm:pt>
    <dgm:pt modelId="{6CC9FB01-2C93-497A-A8D2-D608E193F767}" type="pres">
      <dgm:prSet presAssocID="{C26383E5-25A6-4F0C-9DFB-1C3EEA2BD708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1A67CDA-8A91-4884-B795-9F95A86753DD}" type="pres">
      <dgm:prSet presAssocID="{270E54AF-1B03-432F-8017-6761B8A71AF4}" presName="spacer" presStyleCnt="0"/>
      <dgm:spPr/>
    </dgm:pt>
    <dgm:pt modelId="{AB3E7517-4C53-4353-8FF2-D1D44D6CCD15}" type="pres">
      <dgm:prSet presAssocID="{AFFC2DED-10EF-4933-B886-C31F6992ACF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3763F101-CDB4-452B-822A-6061420F6677}" type="pres">
      <dgm:prSet presAssocID="{ED4D0C90-9CF0-47CA-8AF5-4BEAF10B8DF7}" presName="spacer" presStyleCnt="0"/>
      <dgm:spPr/>
    </dgm:pt>
    <dgm:pt modelId="{F2D7AF73-131C-41CE-81E6-36C3A7A54D9C}" type="pres">
      <dgm:prSet presAssocID="{B7259284-BB87-4474-8CE9-D0D9B398BAAB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6F78D917-68C5-4A41-B06E-C067A806BBF1}" srcId="{3F2388C9-60A0-4201-8CAD-7DCFD4FAE953}" destId="{C26383E5-25A6-4F0C-9DFB-1C3EEA2BD708}" srcOrd="2" destOrd="0" parTransId="{FF833289-9D72-4464-BDCF-AE742DA43011}" sibTransId="{270E54AF-1B03-432F-8017-6761B8A71AF4}"/>
    <dgm:cxn modelId="{21B09E61-DBE6-4F3A-B18A-0274D3A1900A}" type="presOf" srcId="{C26383E5-25A6-4F0C-9DFB-1C3EEA2BD708}" destId="{6CC9FB01-2C93-497A-A8D2-D608E193F767}" srcOrd="0" destOrd="0" presId="urn:microsoft.com/office/officeart/2005/8/layout/vList2"/>
    <dgm:cxn modelId="{5FE85266-6B21-41FE-BCF7-5FE239304D99}" srcId="{3F2388C9-60A0-4201-8CAD-7DCFD4FAE953}" destId="{B7259284-BB87-4474-8CE9-D0D9B398BAAB}" srcOrd="4" destOrd="0" parTransId="{350A7202-75F3-4067-9C7C-9BAB6B11984F}" sibTransId="{86BA5F64-83AD-4BC4-B1F1-7DCBAB1FCD73}"/>
    <dgm:cxn modelId="{8D3F2F4F-CCE4-4E48-A6D5-1EF0EDAD67B2}" srcId="{3F2388C9-60A0-4201-8CAD-7DCFD4FAE953}" destId="{BC310BE2-8982-471F-BB15-EFC94AE0AE80}" srcOrd="1" destOrd="0" parTransId="{60D07582-ECF4-45B6-B80A-0BEC256571EF}" sibTransId="{1F2C1C8A-12F8-408A-8712-0A79817AEEEC}"/>
    <dgm:cxn modelId="{9F570F57-9DE4-4F2D-A04F-2244B2DFDCAE}" type="presOf" srcId="{AFFC2DED-10EF-4933-B886-C31F6992ACF0}" destId="{AB3E7517-4C53-4353-8FF2-D1D44D6CCD15}" srcOrd="0" destOrd="0" presId="urn:microsoft.com/office/officeart/2005/8/layout/vList2"/>
    <dgm:cxn modelId="{100F3C87-676F-4EFA-B945-B4E15207E0A4}" type="presOf" srcId="{3F2388C9-60A0-4201-8CAD-7DCFD4FAE953}" destId="{9E80E537-FE9E-4943-957F-2151E346CA62}" srcOrd="0" destOrd="0" presId="urn:microsoft.com/office/officeart/2005/8/layout/vList2"/>
    <dgm:cxn modelId="{1546FB97-0047-48E1-9560-0A7FF0588022}" srcId="{3F2388C9-60A0-4201-8CAD-7DCFD4FAE953}" destId="{6462724D-D207-425A-A2FE-E5EF57A7E05B}" srcOrd="0" destOrd="0" parTransId="{4184621E-E590-415D-91F9-863BBD97D290}" sibTransId="{9AC5FB5D-A8DD-400B-9AC7-7725D7A0ED7F}"/>
    <dgm:cxn modelId="{02C0FA98-B05C-4CAD-8AFA-D7D4D0E1AFEE}" type="presOf" srcId="{BC310BE2-8982-471F-BB15-EFC94AE0AE80}" destId="{6B27437E-D37C-49DA-9CF2-42346F96EFC0}" srcOrd="0" destOrd="0" presId="urn:microsoft.com/office/officeart/2005/8/layout/vList2"/>
    <dgm:cxn modelId="{FD9837A5-DA5A-48A1-9883-1A99C10569DD}" srcId="{3F2388C9-60A0-4201-8CAD-7DCFD4FAE953}" destId="{AFFC2DED-10EF-4933-B886-C31F6992ACF0}" srcOrd="3" destOrd="0" parTransId="{327965E0-F918-477E-8434-884A11CE4874}" sibTransId="{ED4D0C90-9CF0-47CA-8AF5-4BEAF10B8DF7}"/>
    <dgm:cxn modelId="{C1D19AB1-ED13-41EC-ACF4-D1065F662E6B}" type="presOf" srcId="{6462724D-D207-425A-A2FE-E5EF57A7E05B}" destId="{960325ED-7E83-4725-80C5-D5753481BC2E}" srcOrd="0" destOrd="0" presId="urn:microsoft.com/office/officeart/2005/8/layout/vList2"/>
    <dgm:cxn modelId="{3A7119C3-46EC-44B2-879E-7AE5FE83B7B8}" type="presOf" srcId="{B7259284-BB87-4474-8CE9-D0D9B398BAAB}" destId="{F2D7AF73-131C-41CE-81E6-36C3A7A54D9C}" srcOrd="0" destOrd="0" presId="urn:microsoft.com/office/officeart/2005/8/layout/vList2"/>
    <dgm:cxn modelId="{DF4F1015-A1F7-4745-AD05-297C3063688E}" type="presParOf" srcId="{9E80E537-FE9E-4943-957F-2151E346CA62}" destId="{960325ED-7E83-4725-80C5-D5753481BC2E}" srcOrd="0" destOrd="0" presId="urn:microsoft.com/office/officeart/2005/8/layout/vList2"/>
    <dgm:cxn modelId="{6C53EEE4-A4C5-431C-B208-817EDDF80C69}" type="presParOf" srcId="{9E80E537-FE9E-4943-957F-2151E346CA62}" destId="{1CE52710-331D-4490-8299-BFB9BF536BE4}" srcOrd="1" destOrd="0" presId="urn:microsoft.com/office/officeart/2005/8/layout/vList2"/>
    <dgm:cxn modelId="{2365FD2C-A89F-4E76-9FD0-6C319E9489C6}" type="presParOf" srcId="{9E80E537-FE9E-4943-957F-2151E346CA62}" destId="{6B27437E-D37C-49DA-9CF2-42346F96EFC0}" srcOrd="2" destOrd="0" presId="urn:microsoft.com/office/officeart/2005/8/layout/vList2"/>
    <dgm:cxn modelId="{D9D10A44-C78B-4733-AB67-34293DE3092C}" type="presParOf" srcId="{9E80E537-FE9E-4943-957F-2151E346CA62}" destId="{88AA70FA-B7FE-4AB9-87AB-72C03B8BC2EA}" srcOrd="3" destOrd="0" presId="urn:microsoft.com/office/officeart/2005/8/layout/vList2"/>
    <dgm:cxn modelId="{7267B45C-E484-4F2B-ADBB-E45FA75C7214}" type="presParOf" srcId="{9E80E537-FE9E-4943-957F-2151E346CA62}" destId="{6CC9FB01-2C93-497A-A8D2-D608E193F767}" srcOrd="4" destOrd="0" presId="urn:microsoft.com/office/officeart/2005/8/layout/vList2"/>
    <dgm:cxn modelId="{3809C698-62EF-4142-9502-7740E009AE67}" type="presParOf" srcId="{9E80E537-FE9E-4943-957F-2151E346CA62}" destId="{91A67CDA-8A91-4884-B795-9F95A86753DD}" srcOrd="5" destOrd="0" presId="urn:microsoft.com/office/officeart/2005/8/layout/vList2"/>
    <dgm:cxn modelId="{424C4600-8FB3-4E98-856F-97E065CECFE7}" type="presParOf" srcId="{9E80E537-FE9E-4943-957F-2151E346CA62}" destId="{AB3E7517-4C53-4353-8FF2-D1D44D6CCD15}" srcOrd="6" destOrd="0" presId="urn:microsoft.com/office/officeart/2005/8/layout/vList2"/>
    <dgm:cxn modelId="{04C6EBAE-D743-43D6-AABD-A5C5F5B37AD7}" type="presParOf" srcId="{9E80E537-FE9E-4943-957F-2151E346CA62}" destId="{3763F101-CDB4-452B-822A-6061420F6677}" srcOrd="7" destOrd="0" presId="urn:microsoft.com/office/officeart/2005/8/layout/vList2"/>
    <dgm:cxn modelId="{060267F9-6415-4E05-998F-8718F01B8958}" type="presParOf" srcId="{9E80E537-FE9E-4943-957F-2151E346CA62}" destId="{F2D7AF73-131C-41CE-81E6-36C3A7A54D9C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F2388C9-60A0-4201-8CAD-7DCFD4FAE953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6462724D-D207-425A-A2FE-E5EF57A7E05B}">
      <dgm:prSet/>
      <dgm:spPr/>
      <dgm:t>
        <a:bodyPr/>
        <a:lstStyle/>
        <a:p>
          <a:r>
            <a:rPr lang="en-IN" dirty="0"/>
            <a:t>Consumer rebalance</a:t>
          </a:r>
        </a:p>
      </dgm:t>
    </dgm:pt>
    <dgm:pt modelId="{4184621E-E590-415D-91F9-863BBD97D290}" type="parTrans" cxnId="{1546FB97-0047-48E1-9560-0A7FF0588022}">
      <dgm:prSet/>
      <dgm:spPr/>
      <dgm:t>
        <a:bodyPr/>
        <a:lstStyle/>
        <a:p>
          <a:endParaRPr lang="en-IN"/>
        </a:p>
      </dgm:t>
    </dgm:pt>
    <dgm:pt modelId="{9AC5FB5D-A8DD-400B-9AC7-7725D7A0ED7F}" type="sibTrans" cxnId="{1546FB97-0047-48E1-9560-0A7FF0588022}">
      <dgm:prSet/>
      <dgm:spPr/>
      <dgm:t>
        <a:bodyPr/>
        <a:lstStyle/>
        <a:p>
          <a:endParaRPr lang="en-IN"/>
        </a:p>
      </dgm:t>
    </dgm:pt>
    <dgm:pt modelId="{C26383E5-25A6-4F0C-9DFB-1C3EEA2BD708}">
      <dgm:prSet/>
      <dgm:spPr/>
      <dgm:t>
        <a:bodyPr/>
        <a:lstStyle/>
        <a:p>
          <a:r>
            <a:rPr lang="en-IN" dirty="0"/>
            <a:t>Retry mechanisms to write to the 	data-prepper buffer</a:t>
          </a:r>
        </a:p>
      </dgm:t>
    </dgm:pt>
    <dgm:pt modelId="{FF833289-9D72-4464-BDCF-AE742DA43011}" type="parTrans" cxnId="{6F78D917-68C5-4A41-B06E-C067A806BBF1}">
      <dgm:prSet/>
      <dgm:spPr/>
      <dgm:t>
        <a:bodyPr/>
        <a:lstStyle/>
        <a:p>
          <a:endParaRPr lang="en-IN"/>
        </a:p>
      </dgm:t>
    </dgm:pt>
    <dgm:pt modelId="{270E54AF-1B03-432F-8017-6761B8A71AF4}" type="sibTrans" cxnId="{6F78D917-68C5-4A41-B06E-C067A806BBF1}">
      <dgm:prSet/>
      <dgm:spPr/>
      <dgm:t>
        <a:bodyPr/>
        <a:lstStyle/>
        <a:p>
          <a:endParaRPr lang="en-IN"/>
        </a:p>
      </dgm:t>
    </dgm:pt>
    <dgm:pt modelId="{AFFC2DED-10EF-4933-B886-C31F6992ACF0}">
      <dgm:prSet/>
      <dgm:spPr/>
      <dgm:t>
        <a:bodyPr/>
        <a:lstStyle/>
        <a:p>
          <a:r>
            <a:rPr lang="en-IN" dirty="0"/>
            <a:t>Supports authentication mechanisms PLAIN and AUTHBEARER</a:t>
          </a:r>
        </a:p>
      </dgm:t>
    </dgm:pt>
    <dgm:pt modelId="{327965E0-F918-477E-8434-884A11CE4874}" type="parTrans" cxnId="{FD9837A5-DA5A-48A1-9883-1A99C10569DD}">
      <dgm:prSet/>
      <dgm:spPr/>
      <dgm:t>
        <a:bodyPr/>
        <a:lstStyle/>
        <a:p>
          <a:endParaRPr lang="en-IN"/>
        </a:p>
      </dgm:t>
    </dgm:pt>
    <dgm:pt modelId="{ED4D0C90-9CF0-47CA-8AF5-4BEAF10B8DF7}" type="sibTrans" cxnId="{FD9837A5-DA5A-48A1-9883-1A99C10569DD}">
      <dgm:prSet/>
      <dgm:spPr/>
      <dgm:t>
        <a:bodyPr/>
        <a:lstStyle/>
        <a:p>
          <a:endParaRPr lang="en-IN"/>
        </a:p>
      </dgm:t>
    </dgm:pt>
    <dgm:pt modelId="{B7259284-BB87-4474-8CE9-D0D9B398BAAB}">
      <dgm:prSet/>
      <dgm:spPr/>
      <dgm:t>
        <a:bodyPr/>
        <a:lstStyle/>
        <a:p>
          <a:r>
            <a:rPr lang="en-US" dirty="0"/>
            <a:t>Supports auth protocols PLAINTEXT, SASL_PLAINTEXT and SASL_SSL</a:t>
          </a:r>
          <a:endParaRPr lang="en-IN" dirty="0"/>
        </a:p>
      </dgm:t>
    </dgm:pt>
    <dgm:pt modelId="{350A7202-75F3-4067-9C7C-9BAB6B11984F}" type="parTrans" cxnId="{5FE85266-6B21-41FE-BCF7-5FE239304D99}">
      <dgm:prSet/>
      <dgm:spPr/>
      <dgm:t>
        <a:bodyPr/>
        <a:lstStyle/>
        <a:p>
          <a:endParaRPr lang="en-IN"/>
        </a:p>
      </dgm:t>
    </dgm:pt>
    <dgm:pt modelId="{86BA5F64-83AD-4BC4-B1F1-7DCBAB1FCD73}" type="sibTrans" cxnId="{5FE85266-6B21-41FE-BCF7-5FE239304D99}">
      <dgm:prSet/>
      <dgm:spPr/>
      <dgm:t>
        <a:bodyPr/>
        <a:lstStyle/>
        <a:p>
          <a:endParaRPr lang="en-IN"/>
        </a:p>
      </dgm:t>
    </dgm:pt>
    <dgm:pt modelId="{BC310BE2-8982-471F-BB15-EFC94AE0AE80}">
      <dgm:prSet/>
      <dgm:spPr/>
      <dgm:t>
        <a:bodyPr/>
        <a:lstStyle/>
        <a:p>
          <a:r>
            <a:rPr lang="en-US" dirty="0"/>
            <a:t>E2E acknowledgement</a:t>
          </a:r>
          <a:endParaRPr lang="en-IN" dirty="0"/>
        </a:p>
      </dgm:t>
    </dgm:pt>
    <dgm:pt modelId="{1F2C1C8A-12F8-408A-8712-0A79817AEEEC}" type="sibTrans" cxnId="{8D3F2F4F-CCE4-4E48-A6D5-1EF0EDAD67B2}">
      <dgm:prSet/>
      <dgm:spPr/>
      <dgm:t>
        <a:bodyPr/>
        <a:lstStyle/>
        <a:p>
          <a:endParaRPr lang="en-IN"/>
        </a:p>
      </dgm:t>
    </dgm:pt>
    <dgm:pt modelId="{60D07582-ECF4-45B6-B80A-0BEC256571EF}" type="parTrans" cxnId="{8D3F2F4F-CCE4-4E48-A6D5-1EF0EDAD67B2}">
      <dgm:prSet/>
      <dgm:spPr/>
      <dgm:t>
        <a:bodyPr/>
        <a:lstStyle/>
        <a:p>
          <a:endParaRPr lang="en-IN"/>
        </a:p>
      </dgm:t>
    </dgm:pt>
    <dgm:pt modelId="{9E80E537-FE9E-4943-957F-2151E346CA62}" type="pres">
      <dgm:prSet presAssocID="{3F2388C9-60A0-4201-8CAD-7DCFD4FAE953}" presName="linear" presStyleCnt="0">
        <dgm:presLayoutVars>
          <dgm:animLvl val="lvl"/>
          <dgm:resizeHandles val="exact"/>
        </dgm:presLayoutVars>
      </dgm:prSet>
      <dgm:spPr/>
    </dgm:pt>
    <dgm:pt modelId="{960325ED-7E83-4725-80C5-D5753481BC2E}" type="pres">
      <dgm:prSet presAssocID="{6462724D-D207-425A-A2FE-E5EF57A7E05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1CE52710-331D-4490-8299-BFB9BF536BE4}" type="pres">
      <dgm:prSet presAssocID="{9AC5FB5D-A8DD-400B-9AC7-7725D7A0ED7F}" presName="spacer" presStyleCnt="0"/>
      <dgm:spPr/>
    </dgm:pt>
    <dgm:pt modelId="{6B27437E-D37C-49DA-9CF2-42346F96EFC0}" type="pres">
      <dgm:prSet presAssocID="{BC310BE2-8982-471F-BB15-EFC94AE0AE80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8AA70FA-B7FE-4AB9-87AB-72C03B8BC2EA}" type="pres">
      <dgm:prSet presAssocID="{1F2C1C8A-12F8-408A-8712-0A79817AEEEC}" presName="spacer" presStyleCnt="0"/>
      <dgm:spPr/>
    </dgm:pt>
    <dgm:pt modelId="{6CC9FB01-2C93-497A-A8D2-D608E193F767}" type="pres">
      <dgm:prSet presAssocID="{C26383E5-25A6-4F0C-9DFB-1C3EEA2BD708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1A67CDA-8A91-4884-B795-9F95A86753DD}" type="pres">
      <dgm:prSet presAssocID="{270E54AF-1B03-432F-8017-6761B8A71AF4}" presName="spacer" presStyleCnt="0"/>
      <dgm:spPr/>
    </dgm:pt>
    <dgm:pt modelId="{AB3E7517-4C53-4353-8FF2-D1D44D6CCD15}" type="pres">
      <dgm:prSet presAssocID="{AFFC2DED-10EF-4933-B886-C31F6992ACF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3763F101-CDB4-452B-822A-6061420F6677}" type="pres">
      <dgm:prSet presAssocID="{ED4D0C90-9CF0-47CA-8AF5-4BEAF10B8DF7}" presName="spacer" presStyleCnt="0"/>
      <dgm:spPr/>
    </dgm:pt>
    <dgm:pt modelId="{F2D7AF73-131C-41CE-81E6-36C3A7A54D9C}" type="pres">
      <dgm:prSet presAssocID="{B7259284-BB87-4474-8CE9-D0D9B398BAAB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6F78D917-68C5-4A41-B06E-C067A806BBF1}" srcId="{3F2388C9-60A0-4201-8CAD-7DCFD4FAE953}" destId="{C26383E5-25A6-4F0C-9DFB-1C3EEA2BD708}" srcOrd="2" destOrd="0" parTransId="{FF833289-9D72-4464-BDCF-AE742DA43011}" sibTransId="{270E54AF-1B03-432F-8017-6761B8A71AF4}"/>
    <dgm:cxn modelId="{21B09E61-DBE6-4F3A-B18A-0274D3A1900A}" type="presOf" srcId="{C26383E5-25A6-4F0C-9DFB-1C3EEA2BD708}" destId="{6CC9FB01-2C93-497A-A8D2-D608E193F767}" srcOrd="0" destOrd="0" presId="urn:microsoft.com/office/officeart/2005/8/layout/vList2"/>
    <dgm:cxn modelId="{5FE85266-6B21-41FE-BCF7-5FE239304D99}" srcId="{3F2388C9-60A0-4201-8CAD-7DCFD4FAE953}" destId="{B7259284-BB87-4474-8CE9-D0D9B398BAAB}" srcOrd="4" destOrd="0" parTransId="{350A7202-75F3-4067-9C7C-9BAB6B11984F}" sibTransId="{86BA5F64-83AD-4BC4-B1F1-7DCBAB1FCD73}"/>
    <dgm:cxn modelId="{8D3F2F4F-CCE4-4E48-A6D5-1EF0EDAD67B2}" srcId="{3F2388C9-60A0-4201-8CAD-7DCFD4FAE953}" destId="{BC310BE2-8982-471F-BB15-EFC94AE0AE80}" srcOrd="1" destOrd="0" parTransId="{60D07582-ECF4-45B6-B80A-0BEC256571EF}" sibTransId="{1F2C1C8A-12F8-408A-8712-0A79817AEEEC}"/>
    <dgm:cxn modelId="{9F570F57-9DE4-4F2D-A04F-2244B2DFDCAE}" type="presOf" srcId="{AFFC2DED-10EF-4933-B886-C31F6992ACF0}" destId="{AB3E7517-4C53-4353-8FF2-D1D44D6CCD15}" srcOrd="0" destOrd="0" presId="urn:microsoft.com/office/officeart/2005/8/layout/vList2"/>
    <dgm:cxn modelId="{100F3C87-676F-4EFA-B945-B4E15207E0A4}" type="presOf" srcId="{3F2388C9-60A0-4201-8CAD-7DCFD4FAE953}" destId="{9E80E537-FE9E-4943-957F-2151E346CA62}" srcOrd="0" destOrd="0" presId="urn:microsoft.com/office/officeart/2005/8/layout/vList2"/>
    <dgm:cxn modelId="{1546FB97-0047-48E1-9560-0A7FF0588022}" srcId="{3F2388C9-60A0-4201-8CAD-7DCFD4FAE953}" destId="{6462724D-D207-425A-A2FE-E5EF57A7E05B}" srcOrd="0" destOrd="0" parTransId="{4184621E-E590-415D-91F9-863BBD97D290}" sibTransId="{9AC5FB5D-A8DD-400B-9AC7-7725D7A0ED7F}"/>
    <dgm:cxn modelId="{02C0FA98-B05C-4CAD-8AFA-D7D4D0E1AFEE}" type="presOf" srcId="{BC310BE2-8982-471F-BB15-EFC94AE0AE80}" destId="{6B27437E-D37C-49DA-9CF2-42346F96EFC0}" srcOrd="0" destOrd="0" presId="urn:microsoft.com/office/officeart/2005/8/layout/vList2"/>
    <dgm:cxn modelId="{FD9837A5-DA5A-48A1-9883-1A99C10569DD}" srcId="{3F2388C9-60A0-4201-8CAD-7DCFD4FAE953}" destId="{AFFC2DED-10EF-4933-B886-C31F6992ACF0}" srcOrd="3" destOrd="0" parTransId="{327965E0-F918-477E-8434-884A11CE4874}" sibTransId="{ED4D0C90-9CF0-47CA-8AF5-4BEAF10B8DF7}"/>
    <dgm:cxn modelId="{C1D19AB1-ED13-41EC-ACF4-D1065F662E6B}" type="presOf" srcId="{6462724D-D207-425A-A2FE-E5EF57A7E05B}" destId="{960325ED-7E83-4725-80C5-D5753481BC2E}" srcOrd="0" destOrd="0" presId="urn:microsoft.com/office/officeart/2005/8/layout/vList2"/>
    <dgm:cxn modelId="{3A7119C3-46EC-44B2-879E-7AE5FE83B7B8}" type="presOf" srcId="{B7259284-BB87-4474-8CE9-D0D9B398BAAB}" destId="{F2D7AF73-131C-41CE-81E6-36C3A7A54D9C}" srcOrd="0" destOrd="0" presId="urn:microsoft.com/office/officeart/2005/8/layout/vList2"/>
    <dgm:cxn modelId="{DF4F1015-A1F7-4745-AD05-297C3063688E}" type="presParOf" srcId="{9E80E537-FE9E-4943-957F-2151E346CA62}" destId="{960325ED-7E83-4725-80C5-D5753481BC2E}" srcOrd="0" destOrd="0" presId="urn:microsoft.com/office/officeart/2005/8/layout/vList2"/>
    <dgm:cxn modelId="{6C53EEE4-A4C5-431C-B208-817EDDF80C69}" type="presParOf" srcId="{9E80E537-FE9E-4943-957F-2151E346CA62}" destId="{1CE52710-331D-4490-8299-BFB9BF536BE4}" srcOrd="1" destOrd="0" presId="urn:microsoft.com/office/officeart/2005/8/layout/vList2"/>
    <dgm:cxn modelId="{2365FD2C-A89F-4E76-9FD0-6C319E9489C6}" type="presParOf" srcId="{9E80E537-FE9E-4943-957F-2151E346CA62}" destId="{6B27437E-D37C-49DA-9CF2-42346F96EFC0}" srcOrd="2" destOrd="0" presId="urn:microsoft.com/office/officeart/2005/8/layout/vList2"/>
    <dgm:cxn modelId="{D9D10A44-C78B-4733-AB67-34293DE3092C}" type="presParOf" srcId="{9E80E537-FE9E-4943-957F-2151E346CA62}" destId="{88AA70FA-B7FE-4AB9-87AB-72C03B8BC2EA}" srcOrd="3" destOrd="0" presId="urn:microsoft.com/office/officeart/2005/8/layout/vList2"/>
    <dgm:cxn modelId="{7267B45C-E484-4F2B-ADBB-E45FA75C7214}" type="presParOf" srcId="{9E80E537-FE9E-4943-957F-2151E346CA62}" destId="{6CC9FB01-2C93-497A-A8D2-D608E193F767}" srcOrd="4" destOrd="0" presId="urn:microsoft.com/office/officeart/2005/8/layout/vList2"/>
    <dgm:cxn modelId="{3809C698-62EF-4142-9502-7740E009AE67}" type="presParOf" srcId="{9E80E537-FE9E-4943-957F-2151E346CA62}" destId="{91A67CDA-8A91-4884-B795-9F95A86753DD}" srcOrd="5" destOrd="0" presId="urn:microsoft.com/office/officeart/2005/8/layout/vList2"/>
    <dgm:cxn modelId="{424C4600-8FB3-4E98-856F-97E065CECFE7}" type="presParOf" srcId="{9E80E537-FE9E-4943-957F-2151E346CA62}" destId="{AB3E7517-4C53-4353-8FF2-D1D44D6CCD15}" srcOrd="6" destOrd="0" presId="urn:microsoft.com/office/officeart/2005/8/layout/vList2"/>
    <dgm:cxn modelId="{04C6EBAE-D743-43D6-AABD-A5C5F5B37AD7}" type="presParOf" srcId="{9E80E537-FE9E-4943-957F-2151E346CA62}" destId="{3763F101-CDB4-452B-822A-6061420F6677}" srcOrd="7" destOrd="0" presId="urn:microsoft.com/office/officeart/2005/8/layout/vList2"/>
    <dgm:cxn modelId="{060267F9-6415-4E05-998F-8718F01B8958}" type="presParOf" srcId="{9E80E537-FE9E-4943-957F-2151E346CA62}" destId="{F2D7AF73-131C-41CE-81E6-36C3A7A54D9C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F2388C9-60A0-4201-8CAD-7DCFD4FAE953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6462724D-D207-425A-A2FE-E5EF57A7E05B}">
      <dgm:prSet/>
      <dgm:spPr/>
      <dgm:t>
        <a:bodyPr/>
        <a:lstStyle/>
        <a:p>
          <a:r>
            <a:rPr lang="en-GB" dirty="0"/>
            <a:t>The Kafka broker is not available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authentication fails to the Kafka broker/ clusters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authentication fails the Schema Registry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given topic is not available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given Schema registry URL is not available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given Schema version is not available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he user makes any TYPO mistake in the supplied configurations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Any invalid data while reading from the topic.</a:t>
          </a:r>
          <a:endParaRPr lang="en-IN" dirty="0"/>
        </a:p>
        <a:p>
          <a:pPr>
            <a:buFont typeface="+mj-lt"/>
            <a:buAutoNum type="arabicPeriod"/>
          </a:pPr>
          <a:r>
            <a:rPr lang="en-GB" dirty="0"/>
            <a:t>Timeout occurs during the Schema registry connectivity.</a:t>
          </a:r>
          <a:endParaRPr lang="en-IN" dirty="0"/>
        </a:p>
      </dgm:t>
    </dgm:pt>
    <dgm:pt modelId="{4184621E-E590-415D-91F9-863BBD97D290}" type="parTrans" cxnId="{1546FB97-0047-48E1-9560-0A7FF0588022}">
      <dgm:prSet/>
      <dgm:spPr/>
      <dgm:t>
        <a:bodyPr/>
        <a:lstStyle/>
        <a:p>
          <a:endParaRPr lang="en-IN"/>
        </a:p>
      </dgm:t>
    </dgm:pt>
    <dgm:pt modelId="{9AC5FB5D-A8DD-400B-9AC7-7725D7A0ED7F}" type="sibTrans" cxnId="{1546FB97-0047-48E1-9560-0A7FF0588022}">
      <dgm:prSet/>
      <dgm:spPr/>
      <dgm:t>
        <a:bodyPr/>
        <a:lstStyle/>
        <a:p>
          <a:endParaRPr lang="en-IN"/>
        </a:p>
      </dgm:t>
    </dgm:pt>
    <dgm:pt modelId="{9E80E537-FE9E-4943-957F-2151E346CA62}" type="pres">
      <dgm:prSet presAssocID="{3F2388C9-60A0-4201-8CAD-7DCFD4FAE953}" presName="linear" presStyleCnt="0">
        <dgm:presLayoutVars>
          <dgm:animLvl val="lvl"/>
          <dgm:resizeHandles val="exact"/>
        </dgm:presLayoutVars>
      </dgm:prSet>
      <dgm:spPr/>
    </dgm:pt>
    <dgm:pt modelId="{960325ED-7E83-4725-80C5-D5753481BC2E}" type="pres">
      <dgm:prSet presAssocID="{6462724D-D207-425A-A2FE-E5EF57A7E05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100F3C87-676F-4EFA-B945-B4E15207E0A4}" type="presOf" srcId="{3F2388C9-60A0-4201-8CAD-7DCFD4FAE953}" destId="{9E80E537-FE9E-4943-957F-2151E346CA62}" srcOrd="0" destOrd="0" presId="urn:microsoft.com/office/officeart/2005/8/layout/vList2"/>
    <dgm:cxn modelId="{1546FB97-0047-48E1-9560-0A7FF0588022}" srcId="{3F2388C9-60A0-4201-8CAD-7DCFD4FAE953}" destId="{6462724D-D207-425A-A2FE-E5EF57A7E05B}" srcOrd="0" destOrd="0" parTransId="{4184621E-E590-415D-91F9-863BBD97D290}" sibTransId="{9AC5FB5D-A8DD-400B-9AC7-7725D7A0ED7F}"/>
    <dgm:cxn modelId="{C1D19AB1-ED13-41EC-ACF4-D1065F662E6B}" type="presOf" srcId="{6462724D-D207-425A-A2FE-E5EF57A7E05B}" destId="{960325ED-7E83-4725-80C5-D5753481BC2E}" srcOrd="0" destOrd="0" presId="urn:microsoft.com/office/officeart/2005/8/layout/vList2"/>
    <dgm:cxn modelId="{DF4F1015-A1F7-4745-AD05-297C3063688E}" type="presParOf" srcId="{9E80E537-FE9E-4943-957F-2151E346CA62}" destId="{960325ED-7E83-4725-80C5-D5753481BC2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6B1C0-2C2B-4D8C-97D1-BB2E293B81DB}">
      <dsp:nvSpPr>
        <dsp:cNvPr id="0" name=""/>
        <dsp:cNvSpPr/>
      </dsp:nvSpPr>
      <dsp:spPr>
        <a:xfrm>
          <a:off x="0" y="50062"/>
          <a:ext cx="8022018" cy="767520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 err="1"/>
            <a:t>Pipelines.yaml</a:t>
          </a:r>
          <a:endParaRPr lang="en-IN" sz="3200" kern="1200" dirty="0"/>
        </a:p>
      </dsp:txBody>
      <dsp:txXfrm>
        <a:off x="37467" y="87529"/>
        <a:ext cx="7947084" cy="692586"/>
      </dsp:txXfrm>
    </dsp:sp>
    <dsp:sp modelId="{96175F1F-1A01-4EFA-9837-C8B97DD85DA6}">
      <dsp:nvSpPr>
        <dsp:cNvPr id="0" name=""/>
        <dsp:cNvSpPr/>
      </dsp:nvSpPr>
      <dsp:spPr>
        <a:xfrm>
          <a:off x="0" y="817582"/>
          <a:ext cx="8022018" cy="569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699" tIns="40640" rIns="227584" bIns="4064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en-IN" sz="2500" kern="1200" dirty="0">
              <a:solidFill>
                <a:schemeClr val="accent1"/>
              </a:solidFill>
            </a:rPr>
            <a:t>log-pipeline: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source: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</a:t>
          </a:r>
          <a:r>
            <a:rPr lang="en-IN" sz="2500" kern="1200" dirty="0" err="1">
              <a:solidFill>
                <a:schemeClr val="accent1"/>
              </a:solidFill>
            </a:rPr>
            <a:t>kafka</a:t>
          </a:r>
          <a:r>
            <a:rPr lang="en-IN" sz="2500" kern="1200" dirty="0">
              <a:solidFill>
                <a:schemeClr val="accent1"/>
              </a:solidFill>
            </a:rPr>
            <a:t>: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</a:t>
          </a:r>
          <a:r>
            <a:rPr lang="en-IN" sz="2500" kern="1200" dirty="0" err="1">
              <a:solidFill>
                <a:schemeClr val="accent1"/>
              </a:solidFill>
            </a:rPr>
            <a:t>bootstrap_servers</a:t>
          </a:r>
          <a:r>
            <a:rPr lang="en-IN" sz="2500" kern="1200" dirty="0">
              <a:solidFill>
                <a:schemeClr val="accent1"/>
              </a:solidFill>
            </a:rPr>
            <a:t>: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- pkc-ymrq7.us-east-2.aws.confluent.cloud:9092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</a:t>
          </a:r>
          <a:r>
            <a:rPr lang="en-IN" sz="2500" kern="1200" dirty="0" err="1">
              <a:solidFill>
                <a:schemeClr val="accent1"/>
              </a:solidFill>
            </a:rPr>
            <a:t>client_dns_lookup</a:t>
          </a:r>
          <a:r>
            <a:rPr lang="en-IN" sz="2500" kern="1200" dirty="0">
              <a:solidFill>
                <a:schemeClr val="accent1"/>
              </a:solidFill>
            </a:rPr>
            <a:t>: </a:t>
          </a:r>
          <a:r>
            <a:rPr lang="en-IN" sz="2500" kern="1200" dirty="0" err="1">
              <a:solidFill>
                <a:schemeClr val="accent1"/>
              </a:solidFill>
            </a:rPr>
            <a:t>use_all_dns_ips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encryption: plaintext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topics: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- name: topic-</a:t>
          </a:r>
          <a:r>
            <a:rPr lang="en-IN" sz="2500" kern="1200" dirty="0" err="1">
              <a:solidFill>
                <a:schemeClr val="accent1"/>
              </a:solidFill>
            </a:rPr>
            <a:t>json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workers: 5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auto_commit</a:t>
          </a:r>
          <a:r>
            <a:rPr lang="en-IN" sz="2500" kern="1200" dirty="0">
              <a:solidFill>
                <a:schemeClr val="accent1"/>
              </a:solidFill>
            </a:rPr>
            <a:t>: false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auto_commit_interval</a:t>
          </a:r>
          <a:r>
            <a:rPr lang="en-IN" sz="2500" kern="1200" dirty="0">
              <a:solidFill>
                <a:schemeClr val="accent1"/>
              </a:solidFill>
            </a:rPr>
            <a:t>: PT5S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session_timeout</a:t>
          </a:r>
          <a:r>
            <a:rPr lang="en-IN" sz="2500" kern="1200" dirty="0">
              <a:solidFill>
                <a:schemeClr val="accent1"/>
              </a:solidFill>
            </a:rPr>
            <a:t>: 45000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max_retry_attempts</a:t>
          </a:r>
          <a:r>
            <a:rPr lang="en-IN" sz="2500" kern="1200" dirty="0">
              <a:solidFill>
                <a:schemeClr val="accent1"/>
              </a:solidFill>
            </a:rPr>
            <a:t>: 1000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auto_offset_reset</a:t>
          </a:r>
          <a:r>
            <a:rPr lang="en-IN" sz="2500" kern="1200" dirty="0">
              <a:solidFill>
                <a:schemeClr val="accent1"/>
              </a:solidFill>
            </a:rPr>
            <a:t>: earliest</a:t>
          </a:r>
          <a:br>
            <a:rPr lang="en-IN" sz="2500" kern="1200" dirty="0">
              <a:solidFill>
                <a:schemeClr val="accent1"/>
              </a:solidFill>
            </a:rPr>
          </a:br>
          <a:r>
            <a:rPr lang="en-IN" sz="2500" kern="1200" dirty="0">
              <a:solidFill>
                <a:schemeClr val="accent1"/>
              </a:solidFill>
            </a:rPr>
            <a:t>          </a:t>
          </a:r>
          <a:r>
            <a:rPr lang="en-IN" sz="2500" kern="1200" dirty="0" err="1">
              <a:solidFill>
                <a:schemeClr val="accent1"/>
              </a:solidFill>
            </a:rPr>
            <a:t>thread_waiting_time</a:t>
          </a:r>
          <a:r>
            <a:rPr lang="en-IN" sz="2500" kern="1200" dirty="0">
              <a:solidFill>
                <a:schemeClr val="accent1"/>
              </a:solidFill>
            </a:rPr>
            <a:t>: PT1S</a:t>
          </a:r>
        </a:p>
      </dsp:txBody>
      <dsp:txXfrm>
        <a:off x="0" y="817582"/>
        <a:ext cx="8022018" cy="5696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6B1C0-2C2B-4D8C-97D1-BB2E293B81DB}">
      <dsp:nvSpPr>
        <dsp:cNvPr id="0" name=""/>
        <dsp:cNvSpPr/>
      </dsp:nvSpPr>
      <dsp:spPr>
        <a:xfrm>
          <a:off x="0" y="222232"/>
          <a:ext cx="8022018" cy="671580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 err="1"/>
            <a:t>Pipelines.yaml</a:t>
          </a:r>
          <a:endParaRPr lang="en-IN" sz="2800" kern="1200" dirty="0"/>
        </a:p>
      </dsp:txBody>
      <dsp:txXfrm>
        <a:off x="32784" y="255016"/>
        <a:ext cx="7956450" cy="606012"/>
      </dsp:txXfrm>
    </dsp:sp>
    <dsp:sp modelId="{96175F1F-1A01-4EFA-9837-C8B97DD85DA6}">
      <dsp:nvSpPr>
        <dsp:cNvPr id="0" name=""/>
        <dsp:cNvSpPr/>
      </dsp:nvSpPr>
      <dsp:spPr>
        <a:xfrm>
          <a:off x="0" y="893812"/>
          <a:ext cx="8022018" cy="5448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699" tIns="35560" rIns="199136" bIns="3556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2200" kern="1200" dirty="0" err="1">
              <a:solidFill>
                <a:schemeClr val="accent1"/>
              </a:solidFill>
            </a:rPr>
            <a:t>max_record_fetch_time</a:t>
          </a:r>
          <a:r>
            <a:rPr lang="en-IN" sz="2200" kern="1200" dirty="0">
              <a:solidFill>
                <a:schemeClr val="accent1"/>
              </a:solidFill>
            </a:rPr>
            <a:t>: PT4S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heart_beat_interval</a:t>
          </a:r>
          <a:r>
            <a:rPr lang="en-IN" sz="2200" kern="1200" dirty="0">
              <a:solidFill>
                <a:schemeClr val="accent1"/>
              </a:solidFill>
            </a:rPr>
            <a:t>: PT3S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buffer_default_timeout</a:t>
          </a:r>
          <a:r>
            <a:rPr lang="en-IN" sz="2200" kern="1200" dirty="0">
              <a:solidFill>
                <a:schemeClr val="accent1"/>
              </a:solidFill>
            </a:rPr>
            <a:t>: PT5S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fetch_max_bytes</a:t>
          </a:r>
          <a:r>
            <a:rPr lang="en-IN" sz="2200" kern="1200" dirty="0">
              <a:solidFill>
                <a:schemeClr val="accent1"/>
              </a:solidFill>
            </a:rPr>
            <a:t>: 52428800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fetch_max_wait</a:t>
          </a:r>
          <a:r>
            <a:rPr lang="en-IN" sz="2200" kern="1200" dirty="0">
              <a:solidFill>
                <a:schemeClr val="accent1"/>
              </a:solidFill>
            </a:rPr>
            <a:t>: 500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fetch_min_bytes</a:t>
          </a:r>
          <a:r>
            <a:rPr lang="en-IN" sz="2200" kern="1200" dirty="0">
              <a:solidFill>
                <a:schemeClr val="accent1"/>
              </a:solidFill>
            </a:rPr>
            <a:t>: 1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retry_backoff</a:t>
          </a:r>
          <a:r>
            <a:rPr lang="en-IN" sz="2200" kern="1200" dirty="0">
              <a:solidFill>
                <a:schemeClr val="accent1"/>
              </a:solidFill>
            </a:rPr>
            <a:t>: PT100S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  </a:t>
          </a:r>
          <a:r>
            <a:rPr lang="en-IN" sz="2200" kern="1200" dirty="0" err="1">
              <a:solidFill>
                <a:schemeClr val="accent1"/>
              </a:solidFill>
            </a:rPr>
            <a:t>consumer_max_poll_records</a:t>
          </a:r>
          <a:r>
            <a:rPr lang="en-IN" sz="2200" kern="1200" dirty="0">
              <a:solidFill>
                <a:schemeClr val="accent1"/>
              </a:solidFill>
            </a:rPr>
            <a:t>: 500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b="1" kern="1200" dirty="0">
              <a:solidFill>
                <a:schemeClr val="accent1"/>
              </a:solidFill>
            </a:rPr>
            <a:t>schema: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</a:t>
          </a:r>
          <a:r>
            <a:rPr lang="en-IN" sz="2200" kern="1200" dirty="0" err="1">
              <a:solidFill>
                <a:schemeClr val="accent1"/>
              </a:solidFill>
            </a:rPr>
            <a:t>registry_url</a:t>
          </a:r>
          <a:r>
            <a:rPr lang="en-IN" sz="2200" kern="1200" dirty="0">
              <a:solidFill>
                <a:schemeClr val="accent1"/>
              </a:solidFill>
            </a:rPr>
            <a:t>: https://psrc-em82q.us-east-2.aws.confluent.cloud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version: 1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</a:t>
          </a:r>
          <a:r>
            <a:rPr lang="en-IN" sz="2200" kern="1200" dirty="0" err="1">
              <a:solidFill>
                <a:schemeClr val="accent1"/>
              </a:solidFill>
            </a:rPr>
            <a:t>schema_registry_api_key</a:t>
          </a:r>
          <a:r>
            <a:rPr lang="en-IN" sz="2200" kern="1200" dirty="0">
              <a:solidFill>
                <a:schemeClr val="accent1"/>
              </a:solidFill>
            </a:rPr>
            <a:t>: 7QV2UXHRVNOC6AJD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</a:t>
          </a:r>
          <a:r>
            <a:rPr lang="en-IN" sz="2200" kern="1200" dirty="0" err="1">
              <a:solidFill>
                <a:schemeClr val="accent1"/>
              </a:solidFill>
            </a:rPr>
            <a:t>schema_registry_api_secret</a:t>
          </a:r>
          <a:r>
            <a:rPr lang="en-IN" sz="2200" kern="1200" dirty="0">
              <a:solidFill>
                <a:schemeClr val="accent1"/>
              </a:solidFill>
            </a:rPr>
            <a:t>: 6M9xLZDIfmyBN9cqNm2n9GU23mleiaIHJWqQeA5P4JY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</a:t>
          </a:r>
          <a:r>
            <a:rPr lang="en-IN" sz="2200" kern="1200" dirty="0" err="1">
              <a:solidFill>
                <a:schemeClr val="accent1"/>
              </a:solidFill>
            </a:rPr>
            <a:t>basic_auth_credentials_source</a:t>
          </a:r>
          <a:r>
            <a:rPr lang="en-IN" sz="2200" kern="1200" dirty="0">
              <a:solidFill>
                <a:schemeClr val="accent1"/>
              </a:solidFill>
            </a:rPr>
            <a:t>: USER_INFO</a:t>
          </a:r>
          <a:br>
            <a:rPr lang="en-IN" sz="2200" kern="1200" dirty="0">
              <a:solidFill>
                <a:schemeClr val="accent1"/>
              </a:solidFill>
            </a:rPr>
          </a:br>
          <a:r>
            <a:rPr lang="en-IN" sz="2200" kern="1200" dirty="0">
              <a:solidFill>
                <a:schemeClr val="accent1"/>
              </a:solidFill>
            </a:rPr>
            <a:t>  </a:t>
          </a:r>
          <a:r>
            <a:rPr lang="en-IN" sz="2200" kern="1200" dirty="0" err="1">
              <a:solidFill>
                <a:schemeClr val="accent1"/>
              </a:solidFill>
            </a:rPr>
            <a:t>session_timeout_ms</a:t>
          </a:r>
          <a:r>
            <a:rPr lang="en-IN" sz="2200" kern="1200" dirty="0">
              <a:solidFill>
                <a:schemeClr val="accent1"/>
              </a:solidFill>
            </a:rPr>
            <a:t>: 45000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endParaRPr lang="en-IN" sz="2200" kern="120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893812"/>
        <a:ext cx="8022018" cy="54482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6B1C0-2C2B-4D8C-97D1-BB2E293B81DB}">
      <dsp:nvSpPr>
        <dsp:cNvPr id="0" name=""/>
        <dsp:cNvSpPr/>
      </dsp:nvSpPr>
      <dsp:spPr>
        <a:xfrm>
          <a:off x="0" y="85679"/>
          <a:ext cx="8022018" cy="791505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300" kern="1200" dirty="0" err="1"/>
            <a:t>Pipelines.yaml</a:t>
          </a:r>
          <a:endParaRPr lang="en-IN" sz="3300" kern="1200" dirty="0"/>
        </a:p>
      </dsp:txBody>
      <dsp:txXfrm>
        <a:off x="38638" y="124317"/>
        <a:ext cx="7944742" cy="714229"/>
      </dsp:txXfrm>
    </dsp:sp>
    <dsp:sp modelId="{96175F1F-1A01-4EFA-9837-C8B97DD85DA6}">
      <dsp:nvSpPr>
        <dsp:cNvPr id="0" name=""/>
        <dsp:cNvSpPr/>
      </dsp:nvSpPr>
      <dsp:spPr>
        <a:xfrm>
          <a:off x="0" y="877184"/>
          <a:ext cx="8022018" cy="5601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699" tIns="41910" rIns="234696" bIns="41910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en-IN" sz="2600" kern="1200" dirty="0" err="1">
              <a:solidFill>
                <a:schemeClr val="accent1"/>
              </a:solidFill>
            </a:rPr>
            <a:t>aws</a:t>
          </a:r>
          <a:r>
            <a:rPr lang="en-IN" sz="2600" kern="1200" dirty="0">
              <a:solidFill>
                <a:schemeClr val="accent1"/>
              </a:solidFill>
            </a:rPr>
            <a:t>: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</a:t>
          </a:r>
          <a:r>
            <a:rPr lang="en-IN" sz="2600" kern="1200" dirty="0" err="1">
              <a:solidFill>
                <a:schemeClr val="accent1"/>
              </a:solidFill>
            </a:rPr>
            <a:t>msk</a:t>
          </a:r>
          <a:r>
            <a:rPr lang="en-IN" sz="2600" kern="1200" dirty="0">
              <a:solidFill>
                <a:schemeClr val="accent1"/>
              </a:solidFill>
            </a:rPr>
            <a:t>: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</a:t>
          </a:r>
          <a:r>
            <a:rPr lang="en-IN" sz="2600" kern="1200" dirty="0" err="1">
              <a:solidFill>
                <a:schemeClr val="accent1"/>
              </a:solidFill>
            </a:rPr>
            <a:t>arn</a:t>
          </a:r>
          <a:r>
            <a:rPr lang="en-IN" sz="2600" kern="1200" dirty="0">
              <a:solidFill>
                <a:schemeClr val="accent1"/>
              </a:solidFill>
            </a:rPr>
            <a:t>: </a:t>
          </a:r>
          <a:r>
            <a:rPr lang="en-IN" sz="2600" kern="1200" dirty="0" err="1">
              <a:solidFill>
                <a:schemeClr val="accent1"/>
              </a:solidFill>
            </a:rPr>
            <a:t>service_arn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</a:t>
          </a:r>
          <a:r>
            <a:rPr lang="en-IN" sz="2600" kern="1200" dirty="0" err="1">
              <a:solidFill>
                <a:schemeClr val="accent1"/>
              </a:solidFill>
            </a:rPr>
            <a:t>broker_connection_type</a:t>
          </a:r>
          <a:r>
            <a:rPr lang="en-IN" sz="2600" kern="1200" dirty="0">
              <a:solidFill>
                <a:schemeClr val="accent1"/>
              </a:solidFill>
            </a:rPr>
            <a:t>: public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region: us-east-2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</a:t>
          </a:r>
          <a:r>
            <a:rPr lang="en-IN" sz="2600" kern="1200" dirty="0" err="1">
              <a:solidFill>
                <a:schemeClr val="accent1"/>
              </a:solidFill>
            </a:rPr>
            <a:t>sts_role_arn</a:t>
          </a:r>
          <a:r>
            <a:rPr lang="en-IN" sz="2600" kern="1200" dirty="0">
              <a:solidFill>
                <a:schemeClr val="accent1"/>
              </a:solidFill>
            </a:rPr>
            <a:t>: </a:t>
          </a:r>
          <a:r>
            <a:rPr lang="en-IN" sz="2600" kern="1200" dirty="0" err="1">
              <a:solidFill>
                <a:schemeClr val="accent1"/>
              </a:solidFill>
            </a:rPr>
            <a:t>sts_role_arn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authentication: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insecure: true/false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</a:t>
          </a:r>
          <a:r>
            <a:rPr lang="en-IN" sz="2600" kern="1200" dirty="0" err="1">
              <a:solidFill>
                <a:schemeClr val="accent1"/>
              </a:solidFill>
            </a:rPr>
            <a:t>sasl</a:t>
          </a:r>
          <a:r>
            <a:rPr lang="en-IN" sz="2600" kern="1200" dirty="0">
              <a:solidFill>
                <a:schemeClr val="accent1"/>
              </a:solidFill>
            </a:rPr>
            <a:t>: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</a:t>
          </a:r>
          <a:r>
            <a:rPr lang="en-IN" sz="2600" kern="1200" dirty="0" err="1">
              <a:solidFill>
                <a:schemeClr val="accent1"/>
              </a:solidFill>
            </a:rPr>
            <a:t>msk_iam</a:t>
          </a:r>
          <a:r>
            <a:rPr lang="en-IN" sz="2600" kern="1200" dirty="0">
              <a:solidFill>
                <a:schemeClr val="accent1"/>
              </a:solidFill>
            </a:rPr>
            <a:t>: role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plaintext: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  </a:t>
          </a:r>
          <a:r>
            <a:rPr lang="en-IN" sz="2600" kern="1200" dirty="0" err="1">
              <a:solidFill>
                <a:schemeClr val="accent1"/>
              </a:solidFill>
            </a:rPr>
            <a:t>security_protocol</a:t>
          </a:r>
          <a:r>
            <a:rPr lang="en-IN" sz="2600" kern="1200" dirty="0">
              <a:solidFill>
                <a:schemeClr val="accent1"/>
              </a:solidFill>
            </a:rPr>
            <a:t>: SASL_SSL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  username: 5UH4NID4OENKDIBI</a:t>
          </a:r>
          <a:br>
            <a:rPr lang="en-IN" sz="2600" kern="1200" dirty="0">
              <a:solidFill>
                <a:schemeClr val="accent1"/>
              </a:solidFill>
            </a:rPr>
          </a:br>
          <a:r>
            <a:rPr lang="en-IN" sz="2600" kern="1200" dirty="0">
              <a:solidFill>
                <a:schemeClr val="accent1"/>
              </a:solidFill>
            </a:rPr>
            <a:t>      password: jCmncn77F9asfox3yhgZLCE95aIe1UubX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endParaRPr lang="en-IN" sz="2600" kern="1200" dirty="0">
            <a:solidFill>
              <a:schemeClr val="accent1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877184"/>
        <a:ext cx="8022018" cy="56014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6B1C0-2C2B-4D8C-97D1-BB2E293B81DB}">
      <dsp:nvSpPr>
        <dsp:cNvPr id="0" name=""/>
        <dsp:cNvSpPr/>
      </dsp:nvSpPr>
      <dsp:spPr>
        <a:xfrm>
          <a:off x="0" y="1245105"/>
          <a:ext cx="8022018" cy="455715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900" kern="1200" dirty="0" err="1"/>
            <a:t>Pipelines.yaml</a:t>
          </a:r>
          <a:endParaRPr lang="en-IN" sz="1900" kern="1200" dirty="0"/>
        </a:p>
      </dsp:txBody>
      <dsp:txXfrm>
        <a:off x="22246" y="1267351"/>
        <a:ext cx="7977526" cy="411223"/>
      </dsp:txXfrm>
    </dsp:sp>
    <dsp:sp modelId="{96175F1F-1A01-4EFA-9837-C8B97DD85DA6}">
      <dsp:nvSpPr>
        <dsp:cNvPr id="0" name=""/>
        <dsp:cNvSpPr/>
      </dsp:nvSpPr>
      <dsp:spPr>
        <a:xfrm>
          <a:off x="0" y="1700820"/>
          <a:ext cx="8022018" cy="3618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699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en-IN" sz="1500" kern="1200" dirty="0" err="1">
              <a:solidFill>
                <a:schemeClr val="accent1"/>
              </a:solidFill>
            </a:rPr>
            <a:t>oauth</a:t>
          </a:r>
          <a:r>
            <a:rPr lang="en-IN" sz="1500" kern="1200" dirty="0">
              <a:solidFill>
                <a:schemeClr val="accent1"/>
              </a:solidFill>
            </a:rPr>
            <a:t>: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client_id</a:t>
          </a:r>
          <a:r>
            <a:rPr lang="en-IN" sz="1500" kern="1200" dirty="0">
              <a:solidFill>
                <a:schemeClr val="accent1"/>
              </a:solidFill>
            </a:rPr>
            <a:t>: 0oa9wc21447Pc5vsV5d7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client_secret</a:t>
          </a:r>
          <a:r>
            <a:rPr lang="en-IN" sz="1500" kern="1200" dirty="0">
              <a:solidFill>
                <a:schemeClr val="accent1"/>
              </a:solidFill>
            </a:rPr>
            <a:t>: aGmOfHqIEvBJGDxXAOOcatiE9PvsPgoEePx8IPPa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login_server</a:t>
          </a:r>
          <a:r>
            <a:rPr lang="en-IN" sz="1500" kern="1200" dirty="0">
              <a:solidFill>
                <a:schemeClr val="accent1"/>
              </a:solidFill>
            </a:rPr>
            <a:t>: https://dev-13650048.okta.com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login_endpoint</a:t>
          </a:r>
          <a:r>
            <a:rPr lang="en-IN" sz="1500" kern="1200" dirty="0">
              <a:solidFill>
                <a:schemeClr val="accent1"/>
              </a:solidFill>
            </a:rPr>
            <a:t>: /oauth2/default/v1/token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login_grant_type</a:t>
          </a:r>
          <a:r>
            <a:rPr lang="en-IN" sz="1500" kern="1200" dirty="0">
              <a:solidFill>
                <a:schemeClr val="accent1"/>
              </a:solidFill>
            </a:rPr>
            <a:t>: </a:t>
          </a:r>
          <a:r>
            <a:rPr lang="en-IN" sz="1500" kern="1200" dirty="0" err="1">
              <a:solidFill>
                <a:schemeClr val="accent1"/>
              </a:solidFill>
            </a:rPr>
            <a:t>refresh_token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login_scope</a:t>
          </a:r>
          <a:r>
            <a:rPr lang="en-IN" sz="1500" kern="1200" dirty="0">
              <a:solidFill>
                <a:schemeClr val="accent1"/>
              </a:solidFill>
            </a:rPr>
            <a:t>: </a:t>
          </a:r>
          <a:r>
            <a:rPr lang="en-IN" sz="1500" kern="1200" dirty="0" err="1">
              <a:solidFill>
                <a:schemeClr val="accent1"/>
              </a:solidFill>
            </a:rPr>
            <a:t>kafka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introspect_server</a:t>
          </a:r>
          <a:r>
            <a:rPr lang="en-IN" sz="1500" kern="1200" dirty="0">
              <a:solidFill>
                <a:schemeClr val="accent1"/>
              </a:solidFill>
            </a:rPr>
            <a:t>: https://dev-13650048.okta.com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introspect_endpoint</a:t>
          </a:r>
          <a:r>
            <a:rPr lang="en-IN" sz="1500" kern="1200" dirty="0">
              <a:solidFill>
                <a:schemeClr val="accent1"/>
              </a:solidFill>
            </a:rPr>
            <a:t>: /oauth2/default/v1/introspect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token_endpoint_url</a:t>
          </a:r>
          <a:r>
            <a:rPr lang="en-IN" sz="1500" kern="1200" dirty="0">
              <a:solidFill>
                <a:schemeClr val="accent1"/>
              </a:solidFill>
            </a:rPr>
            <a:t>: https://dev-13650048.okta.com/oauth2/default/v1/token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security_protocol</a:t>
          </a:r>
          <a:r>
            <a:rPr lang="en-IN" sz="1500" kern="1200" dirty="0">
              <a:solidFill>
                <a:schemeClr val="accent1"/>
              </a:solidFill>
            </a:rPr>
            <a:t>: SASL_SSL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sasl_mechanism</a:t>
          </a:r>
          <a:r>
            <a:rPr lang="en-IN" sz="1500" kern="1200" dirty="0">
              <a:solidFill>
                <a:schemeClr val="accent1"/>
              </a:solidFill>
            </a:rPr>
            <a:t>: OAUTHBEARER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sasl_login_callback_handler_class</a:t>
          </a:r>
          <a:r>
            <a:rPr lang="en-IN" sz="1500" kern="1200" dirty="0">
              <a:solidFill>
                <a:schemeClr val="accent1"/>
              </a:solidFill>
            </a:rPr>
            <a:t>: org.apache.kafka.common.security.oauthbearer.secured.OAuthBearerLoginCallbackHandler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oauth_jwks_endpoint_url</a:t>
          </a:r>
          <a:r>
            <a:rPr lang="en-IN" sz="1500" kern="1200" dirty="0">
              <a:solidFill>
                <a:schemeClr val="accent1"/>
              </a:solidFill>
            </a:rPr>
            <a:t>: https://dev-13650048.okta.com/oauth2/default/v1/keys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extension_logicalCluster</a:t>
          </a:r>
          <a:r>
            <a:rPr lang="en-IN" sz="1500" kern="1200" dirty="0">
              <a:solidFill>
                <a:schemeClr val="accent1"/>
              </a:solidFill>
            </a:rPr>
            <a:t>: lkc-yggz7j</a:t>
          </a:r>
          <a:br>
            <a:rPr lang="en-IN" sz="1500" kern="1200" dirty="0">
              <a:solidFill>
                <a:schemeClr val="accent1"/>
              </a:solidFill>
            </a:rPr>
          </a:br>
          <a:r>
            <a:rPr lang="en-IN" sz="1500" kern="1200" dirty="0">
              <a:solidFill>
                <a:schemeClr val="accent1"/>
              </a:solidFill>
            </a:rPr>
            <a:t>  </a:t>
          </a:r>
          <a:r>
            <a:rPr lang="en-IN" sz="1500" kern="1200" dirty="0" err="1">
              <a:solidFill>
                <a:schemeClr val="accent1"/>
              </a:solidFill>
            </a:rPr>
            <a:t>extension_identityPoolId</a:t>
          </a:r>
          <a:r>
            <a:rPr lang="en-IN" sz="1500" kern="1200" dirty="0">
              <a:solidFill>
                <a:schemeClr val="accent1"/>
              </a:solidFill>
            </a:rPr>
            <a:t>: pool-</a:t>
          </a:r>
          <a:r>
            <a:rPr lang="en-IN" sz="1500" kern="1200" dirty="0" err="1">
              <a:solidFill>
                <a:schemeClr val="accent1"/>
              </a:solidFill>
            </a:rPr>
            <a:t>RXzn</a:t>
          </a:r>
          <a:endParaRPr lang="en-IN" sz="1500" kern="1200" dirty="0">
            <a:solidFill>
              <a:schemeClr val="accent1"/>
            </a:solidFill>
          </a:endParaRPr>
        </a:p>
      </dsp:txBody>
      <dsp:txXfrm>
        <a:off x="0" y="1700820"/>
        <a:ext cx="8022018" cy="36183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0325ED-7E83-4725-80C5-D5753481BC2E}">
      <dsp:nvSpPr>
        <dsp:cNvPr id="0" name=""/>
        <dsp:cNvSpPr/>
      </dsp:nvSpPr>
      <dsp:spPr>
        <a:xfrm>
          <a:off x="0" y="76041"/>
          <a:ext cx="5938520" cy="11536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Multithreaded Kafka source consumer</a:t>
          </a:r>
        </a:p>
      </dsp:txBody>
      <dsp:txXfrm>
        <a:off x="56315" y="132356"/>
        <a:ext cx="5825890" cy="1040990"/>
      </dsp:txXfrm>
    </dsp:sp>
    <dsp:sp modelId="{6B27437E-D37C-49DA-9CF2-42346F96EFC0}">
      <dsp:nvSpPr>
        <dsp:cNvPr id="0" name=""/>
        <dsp:cNvSpPr/>
      </dsp:nvSpPr>
      <dsp:spPr>
        <a:xfrm>
          <a:off x="0" y="1313182"/>
          <a:ext cx="5938520" cy="11536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 err="1"/>
            <a:t>Deserializer</a:t>
          </a:r>
          <a:r>
            <a:rPr lang="en-US" sz="2900" kern="1200" dirty="0"/>
            <a:t> for Plain Text / </a:t>
          </a:r>
          <a:r>
            <a:rPr lang="en-US" sz="2900" kern="1200" dirty="0" err="1"/>
            <a:t>Json</a:t>
          </a:r>
          <a:r>
            <a:rPr lang="en-US" sz="2900" kern="1200" dirty="0"/>
            <a:t>/ Avro</a:t>
          </a:r>
          <a:endParaRPr lang="en-IN" sz="2900" kern="1200" dirty="0"/>
        </a:p>
      </dsp:txBody>
      <dsp:txXfrm>
        <a:off x="56315" y="1369497"/>
        <a:ext cx="5825890" cy="1040990"/>
      </dsp:txXfrm>
    </dsp:sp>
    <dsp:sp modelId="{6CC9FB01-2C93-497A-A8D2-D608E193F767}">
      <dsp:nvSpPr>
        <dsp:cNvPr id="0" name=""/>
        <dsp:cNvSpPr/>
      </dsp:nvSpPr>
      <dsp:spPr>
        <a:xfrm>
          <a:off x="0" y="2550321"/>
          <a:ext cx="5938520" cy="11536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 err="1"/>
            <a:t>Deserializer</a:t>
          </a:r>
          <a:r>
            <a:rPr lang="en-US" sz="2900" kern="1200" dirty="0"/>
            <a:t> for JSON</a:t>
          </a:r>
          <a:endParaRPr lang="en-IN" sz="2900" kern="1200" dirty="0"/>
        </a:p>
      </dsp:txBody>
      <dsp:txXfrm>
        <a:off x="56315" y="2606636"/>
        <a:ext cx="5825890" cy="1040990"/>
      </dsp:txXfrm>
    </dsp:sp>
    <dsp:sp modelId="{AB3E7517-4C53-4353-8FF2-D1D44D6CCD15}">
      <dsp:nvSpPr>
        <dsp:cNvPr id="0" name=""/>
        <dsp:cNvSpPr/>
      </dsp:nvSpPr>
      <dsp:spPr>
        <a:xfrm>
          <a:off x="0" y="3787462"/>
          <a:ext cx="5938520" cy="11536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Single broker with multi topic</a:t>
          </a:r>
          <a:endParaRPr lang="en-IN" sz="2900" kern="1200" dirty="0"/>
        </a:p>
      </dsp:txBody>
      <dsp:txXfrm>
        <a:off x="56315" y="3843777"/>
        <a:ext cx="5825890" cy="1040990"/>
      </dsp:txXfrm>
    </dsp:sp>
    <dsp:sp modelId="{F2D7AF73-131C-41CE-81E6-36C3A7A54D9C}">
      <dsp:nvSpPr>
        <dsp:cNvPr id="0" name=""/>
        <dsp:cNvSpPr/>
      </dsp:nvSpPr>
      <dsp:spPr>
        <a:xfrm>
          <a:off x="0" y="5024601"/>
          <a:ext cx="5938520" cy="11536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Multiple data-prepper instance  	with multi topic</a:t>
          </a:r>
          <a:endParaRPr lang="en-IN" sz="2900" kern="1200" dirty="0"/>
        </a:p>
      </dsp:txBody>
      <dsp:txXfrm>
        <a:off x="56315" y="5080916"/>
        <a:ext cx="5825890" cy="104099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0325ED-7E83-4725-80C5-D5753481BC2E}">
      <dsp:nvSpPr>
        <dsp:cNvPr id="0" name=""/>
        <dsp:cNvSpPr/>
      </dsp:nvSpPr>
      <dsp:spPr>
        <a:xfrm>
          <a:off x="0" y="80018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Multiple broker with multi topic</a:t>
          </a:r>
        </a:p>
      </dsp:txBody>
      <dsp:txXfrm>
        <a:off x="56237" y="136255"/>
        <a:ext cx="5826046" cy="1039555"/>
      </dsp:txXfrm>
    </dsp:sp>
    <dsp:sp modelId="{6B27437E-D37C-49DA-9CF2-42346F96EFC0}">
      <dsp:nvSpPr>
        <dsp:cNvPr id="0" name=""/>
        <dsp:cNvSpPr/>
      </dsp:nvSpPr>
      <dsp:spPr>
        <a:xfrm>
          <a:off x="0" y="1315567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Multiple broker – multi topic with multiple data-prepper instances </a:t>
          </a:r>
        </a:p>
      </dsp:txBody>
      <dsp:txXfrm>
        <a:off x="56237" y="1371804"/>
        <a:ext cx="5826046" cy="1039555"/>
      </dsp:txXfrm>
    </dsp:sp>
    <dsp:sp modelId="{6CC9FB01-2C93-497A-A8D2-D608E193F767}">
      <dsp:nvSpPr>
        <dsp:cNvPr id="0" name=""/>
        <dsp:cNvSpPr/>
      </dsp:nvSpPr>
      <dsp:spPr>
        <a:xfrm>
          <a:off x="0" y="2551117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Schema registry connectivity</a:t>
          </a:r>
        </a:p>
      </dsp:txBody>
      <dsp:txXfrm>
        <a:off x="56237" y="2607354"/>
        <a:ext cx="5826046" cy="1039555"/>
      </dsp:txXfrm>
    </dsp:sp>
    <dsp:sp modelId="{AB3E7517-4C53-4353-8FF2-D1D44D6CCD15}">
      <dsp:nvSpPr>
        <dsp:cNvPr id="0" name=""/>
        <dsp:cNvSpPr/>
      </dsp:nvSpPr>
      <dsp:spPr>
        <a:xfrm>
          <a:off x="0" y="3786666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Kafka cloud cluster connectivity</a:t>
          </a:r>
        </a:p>
      </dsp:txBody>
      <dsp:txXfrm>
        <a:off x="56237" y="3842903"/>
        <a:ext cx="5826046" cy="1039555"/>
      </dsp:txXfrm>
    </dsp:sp>
    <dsp:sp modelId="{F2D7AF73-131C-41CE-81E6-36C3A7A54D9C}">
      <dsp:nvSpPr>
        <dsp:cNvPr id="0" name=""/>
        <dsp:cNvSpPr/>
      </dsp:nvSpPr>
      <dsp:spPr>
        <a:xfrm>
          <a:off x="0" y="5022216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Supports Confluent Schema registry and Okta </a:t>
          </a:r>
        </a:p>
      </dsp:txBody>
      <dsp:txXfrm>
        <a:off x="56237" y="5078453"/>
        <a:ext cx="5826046" cy="103955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0325ED-7E83-4725-80C5-D5753481BC2E}">
      <dsp:nvSpPr>
        <dsp:cNvPr id="0" name=""/>
        <dsp:cNvSpPr/>
      </dsp:nvSpPr>
      <dsp:spPr>
        <a:xfrm>
          <a:off x="0" y="80018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Consumer rebalance</a:t>
          </a:r>
        </a:p>
      </dsp:txBody>
      <dsp:txXfrm>
        <a:off x="56237" y="136255"/>
        <a:ext cx="5826046" cy="1039555"/>
      </dsp:txXfrm>
    </dsp:sp>
    <dsp:sp modelId="{6B27437E-D37C-49DA-9CF2-42346F96EFC0}">
      <dsp:nvSpPr>
        <dsp:cNvPr id="0" name=""/>
        <dsp:cNvSpPr/>
      </dsp:nvSpPr>
      <dsp:spPr>
        <a:xfrm>
          <a:off x="0" y="1315567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E2E acknowledgement</a:t>
          </a:r>
          <a:endParaRPr lang="en-IN" sz="2900" kern="1200" dirty="0"/>
        </a:p>
      </dsp:txBody>
      <dsp:txXfrm>
        <a:off x="56237" y="1371804"/>
        <a:ext cx="5826046" cy="1039555"/>
      </dsp:txXfrm>
    </dsp:sp>
    <dsp:sp modelId="{6CC9FB01-2C93-497A-A8D2-D608E193F767}">
      <dsp:nvSpPr>
        <dsp:cNvPr id="0" name=""/>
        <dsp:cNvSpPr/>
      </dsp:nvSpPr>
      <dsp:spPr>
        <a:xfrm>
          <a:off x="0" y="2551117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Retry mechanisms to write to the 	data-prepper buffer</a:t>
          </a:r>
        </a:p>
      </dsp:txBody>
      <dsp:txXfrm>
        <a:off x="56237" y="2607354"/>
        <a:ext cx="5826046" cy="1039555"/>
      </dsp:txXfrm>
    </dsp:sp>
    <dsp:sp modelId="{AB3E7517-4C53-4353-8FF2-D1D44D6CCD15}">
      <dsp:nvSpPr>
        <dsp:cNvPr id="0" name=""/>
        <dsp:cNvSpPr/>
      </dsp:nvSpPr>
      <dsp:spPr>
        <a:xfrm>
          <a:off x="0" y="3786666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900" kern="1200" dirty="0"/>
            <a:t>Supports authentication mechanisms PLAIN and AUTHBEARER</a:t>
          </a:r>
        </a:p>
      </dsp:txBody>
      <dsp:txXfrm>
        <a:off x="56237" y="3842903"/>
        <a:ext cx="5826046" cy="1039555"/>
      </dsp:txXfrm>
    </dsp:sp>
    <dsp:sp modelId="{F2D7AF73-131C-41CE-81E6-36C3A7A54D9C}">
      <dsp:nvSpPr>
        <dsp:cNvPr id="0" name=""/>
        <dsp:cNvSpPr/>
      </dsp:nvSpPr>
      <dsp:spPr>
        <a:xfrm>
          <a:off x="0" y="5022216"/>
          <a:ext cx="5938520" cy="115202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Supports auth protocols PLAINTEXT, SASL_PLAINTEXT and SASL_SSL</a:t>
          </a:r>
          <a:endParaRPr lang="en-IN" sz="2900" kern="1200" dirty="0"/>
        </a:p>
      </dsp:txBody>
      <dsp:txXfrm>
        <a:off x="56237" y="5078453"/>
        <a:ext cx="5826046" cy="103955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0325ED-7E83-4725-80C5-D5753481BC2E}">
      <dsp:nvSpPr>
        <dsp:cNvPr id="0" name=""/>
        <dsp:cNvSpPr/>
      </dsp:nvSpPr>
      <dsp:spPr>
        <a:xfrm>
          <a:off x="0" y="244251"/>
          <a:ext cx="5938520" cy="57657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The Kafka broker is not available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authentication fails to the Kafka broker/ clusters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authentication fails the Schema Registry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given topic is not available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given Schema registry URL is not available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given Schema version is not available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he user makes any TYPO mistake in the supplied configurations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Any invalid data while reading from the topic.</a:t>
          </a:r>
          <a:endParaRPr lang="en-IN" sz="2200" kern="1200" dirty="0"/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200" kern="1200" dirty="0"/>
            <a:t>Timeout occurs during the Schema registry connectivity.</a:t>
          </a:r>
          <a:endParaRPr lang="en-IN" sz="2200" kern="1200" dirty="0"/>
        </a:p>
      </dsp:txBody>
      <dsp:txXfrm>
        <a:off x="281461" y="525712"/>
        <a:ext cx="5375598" cy="52028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AA320-8689-49E8-A6BC-95A8100A8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E66F16-4446-4A90-87A7-F9E1B624B4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73A8D2-4E5C-456D-B367-600BC1D0B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F1D3C-750A-428A-B022-6E63340EE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FCAD5C-FB1A-465F-A389-7C828AA0A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75114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07213-EA2B-4A2E-9D6C-B01367EE9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60E92D-F899-42F5-955C-51BFE6038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24725-56F6-4C04-9F19-466DAC0708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22D35-81E3-4F69-8690-79ABB70C3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8F30FF-2FB6-47F3-9D04-9E82837429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1903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7A488C-CDE7-4AD6-8EEB-7E7F1422C6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A19CF5-29BA-4783-9A76-B618A5D43F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5111C7-D09A-43E8-B8AB-395D60421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167ED-884B-4E2C-BC73-52A763DB3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78C13-27D6-48C6-9A48-EFFE79DE2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73815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Mas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9538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186244" y="3"/>
            <a:ext cx="9005761" cy="7542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8372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A30BC-F228-47D9-A62B-87DFAC698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30E391-ECF5-4FB6-AC2C-A64CEAA570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363D08-1D20-49ED-8FEC-36D6079A0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70208-63CB-4856-8E1D-AB53994EB628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108BC-1831-4BBF-85AB-69AB69266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7D3F-BB93-4206-83A2-4DAEEDA4B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88D8-3656-4EBA-97C3-6F1B5F42E4E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78042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_D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D8054E3-407D-A945-A989-C467761F4CAA}"/>
              </a:ext>
            </a:extLst>
          </p:cNvPr>
          <p:cNvCxnSpPr>
            <a:cxnSpLocks/>
          </p:cNvCxnSpPr>
          <p:nvPr userDrawn="1"/>
        </p:nvCxnSpPr>
        <p:spPr>
          <a:xfrm>
            <a:off x="317500" y="4429125"/>
            <a:ext cx="623888" cy="0"/>
          </a:xfrm>
          <a:prstGeom prst="straightConnector1">
            <a:avLst/>
          </a:prstGeom>
          <a:ln w="25400" cap="sq">
            <a:solidFill>
              <a:srgbClr val="FF9900"/>
            </a:solidFill>
            <a:miter lim="800000"/>
            <a:tailEnd type="arrow"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C6766B2-05B9-4D49-BA3A-99ABF146A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176" y="1472540"/>
            <a:ext cx="9650116" cy="2595563"/>
          </a:xfrm>
        </p:spPr>
        <p:txBody>
          <a:bodyPr anchor="b"/>
          <a:lstStyle>
            <a:lvl1pPr algn="l">
              <a:defRPr sz="6000"/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2A6CFD-C467-C34F-84AB-0F24ADA4B6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0550" y="4289067"/>
            <a:ext cx="8827042" cy="379817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9A56CC-D6BC-4144-9E21-B2E281EF13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90613" y="6249988"/>
            <a:ext cx="4462462" cy="3651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© 2021, Amazon Web Services, Inc. or its affiliates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A8925-7841-9946-AC16-5C8989B68B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058FD55-336A-5A48-A65B-1A6E542D60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639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9B73C-C1A3-4AA0-B0EF-58C6B263E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58385-FB9F-4544-89AF-C1CB070B00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CBC013-53C2-46EA-9663-07A64E9B3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C71EC-8E7B-4BCE-92AE-541FD9894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55A73A-1375-497D-BC6A-45BB7284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0443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77F377-F226-4389-AD96-580181441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D78836-00EA-435B-B312-7AF535A0B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870A35-753F-4E7E-9A5D-AF04165D9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5B405D-BBA1-4262-A4AC-9DF9B7BE6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797B0-7F0C-4415-868F-A08DA0729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460505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789CD-08F0-47A3-88E8-35F61C933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8AB067-2B68-41FD-8D96-26579A93CE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A5D9C1-E48A-47E7-9639-BE08EB8D84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F9FC3A-EC37-42E9-B486-61FEB88DF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86ED36-0B9E-47D4-9896-2B820E24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BED8B2-DE89-4315-9749-DFD524B74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4954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A0E8BD-D5D4-40F9-B1AA-00F255727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6F5DA7-A534-4985-8AF2-FC19DFED8A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263EC6-0D2D-4503-9944-93A57E68EB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66D1FE-FE68-4547-B2AB-3DCB29C6C0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DEEE5E-6ABE-4E21-ACAD-CA604E07F9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053FD3-3BC6-4716-B26E-BC34A2AF2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F50CC6-9CE1-41A3-95CC-D64962481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2EE98F-B488-49C1-95F1-E9D90530E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9748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54222-206A-4FEC-8DC3-CBD2C60C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6742FE-FAEA-482E-96BF-63AC9FAD1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A6A6B2-C5AE-4A59-B570-283512901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312D0E-9976-4026-96D6-5652ADBE9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4136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727A12-3467-457C-B120-E3EB7F680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0E0158-4F32-453E-8E06-2E47E794D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8D3BF2-D6D6-42AA-8176-0B63842B0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15341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17BD7-BCEF-4014-B6D9-F9081DA64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2420BF-65D8-4737-B9F6-1808A19C82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112BE6-08DB-4053-BE42-E4AF06B220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447BC0-A9E2-477F-9716-BDF9FFE64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490F1-8C14-44C9-9C0B-62788175B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B68B46-8B3C-4531-94CB-7D6167034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4563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2B617C-2C73-426E-87E4-62BD36646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0CBC75-A1AE-4398-A112-A0C3D0C1F4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766E91-1446-42EC-AA55-6245E3497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7C6251-B3B5-4BA2-B885-EB28AD300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31A0C2-6E94-4AB1-8BD7-63270E733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BFE92B-995C-414B-BB90-76B200425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45520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554FE9-45E1-4DC2-BAFD-3C8737840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45F79E-9F12-43E6-BAD2-0B1ADB9E61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5C42F8-3A2E-4840-ACAF-9453BA7E0B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37BBDD-C95D-4F6F-A0D1-2BB94046944D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90ED17-9D08-4C0B-A83D-0C8808907F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6F32BD-21B3-4CA6-B90D-E3F0B3BF0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9DFE21-1539-410C-9137-991A8334A68E}" type="slidenum">
              <a:rPr lang="en-IN" smtClean="0"/>
              <a:t>‹#›</a:t>
            </a:fld>
            <a:endParaRPr lang="en-IN"/>
          </a:p>
        </p:txBody>
      </p:sp>
      <p:sp>
        <p:nvSpPr>
          <p:cNvPr id="7" name="MSIPCMContentMarking" descr="{&quot;HashCode&quot;:111819723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C800F7A-9D6F-4A39-9329-926B03D12DAA}"/>
              </a:ext>
            </a:extLst>
          </p:cNvPr>
          <p:cNvSpPr txBox="1"/>
          <p:nvPr userDrawn="1"/>
        </p:nvSpPr>
        <p:spPr>
          <a:xfrm>
            <a:off x="0" y="6595656"/>
            <a:ext cx="117991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1000">
                <a:solidFill>
                  <a:srgbClr val="000000"/>
                </a:solidFill>
                <a:latin typeface="Calibri" panose="020F0502020204030204" pitchFamily="34" charset="0"/>
              </a:rPr>
              <a:t>Internal to Wipro</a:t>
            </a:r>
          </a:p>
        </p:txBody>
      </p:sp>
    </p:spTree>
    <p:extLst>
      <p:ext uri="{BB962C8B-B14F-4D97-AF65-F5344CB8AC3E}">
        <p14:creationId xmlns:p14="http://schemas.microsoft.com/office/powerpoint/2010/main" val="679491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811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309529-FCF9-4ADF-9D27-882EC4E52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8C59A7-9A05-4C78-B594-246133406F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959A6-E3BB-4CC0-BD3C-B8C8BEAB07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370208-63CB-4856-8E1D-AB53994EB628}" type="datetimeFigureOut">
              <a:rPr lang="en-IN" smtClean="0"/>
              <a:t>25-07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3ABA23-9313-4562-A32D-F77619C06B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0DFEAF-BFA8-4E55-AD80-19F67A6AE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88D8-3656-4EBA-97C3-6F1B5F42E4E2}" type="slidenum">
              <a:rPr lang="en-IN" smtClean="0"/>
              <a:t>‹#›</a:t>
            </a:fld>
            <a:endParaRPr lang="en-IN"/>
          </a:p>
        </p:txBody>
      </p:sp>
      <p:sp>
        <p:nvSpPr>
          <p:cNvPr id="7" name="MSIPCMContentMarking" descr="{&quot;HashCode&quot;:111819723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A004812-8C40-428A-A732-0168257120B0}"/>
              </a:ext>
            </a:extLst>
          </p:cNvPr>
          <p:cNvSpPr txBox="1"/>
          <p:nvPr userDrawn="1"/>
        </p:nvSpPr>
        <p:spPr>
          <a:xfrm>
            <a:off x="0" y="6595656"/>
            <a:ext cx="117991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1000">
                <a:solidFill>
                  <a:srgbClr val="000000"/>
                </a:solidFill>
                <a:latin typeface="Calibri" panose="020F0502020204030204" pitchFamily="34" charset="0"/>
              </a:rPr>
              <a:t>Internal to Wipro</a:t>
            </a:r>
          </a:p>
        </p:txBody>
      </p:sp>
    </p:spTree>
    <p:extLst>
      <p:ext uri="{BB962C8B-B14F-4D97-AF65-F5344CB8AC3E}">
        <p14:creationId xmlns:p14="http://schemas.microsoft.com/office/powerpoint/2010/main" val="372090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61E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Placeholder 1">
            <a:extLst>
              <a:ext uri="{FF2B5EF4-FFF2-40B4-BE49-F238E27FC236}">
                <a16:creationId xmlns:a16="http://schemas.microsoft.com/office/drawing/2014/main" id="{B1A3942D-1AFD-6643-9EF9-A7EDC1B6140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41300" y="365125"/>
            <a:ext cx="11709400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2771" name="Text Placeholder 2">
            <a:extLst>
              <a:ext uri="{FF2B5EF4-FFF2-40B4-BE49-F238E27FC236}">
                <a16:creationId xmlns:a16="http://schemas.microsoft.com/office/drawing/2014/main" id="{F18769AE-E149-8245-9CDD-EFE62AC778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41300" y="1176338"/>
            <a:ext cx="11709400" cy="472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pic>
        <p:nvPicPr>
          <p:cNvPr id="32772" name="Picture 9">
            <a:extLst>
              <a:ext uri="{FF2B5EF4-FFF2-40B4-BE49-F238E27FC236}">
                <a16:creationId xmlns:a16="http://schemas.microsoft.com/office/drawing/2014/main" id="{5D7ED5E0-45B4-E34D-9338-E67C4E384D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6235700"/>
            <a:ext cx="585787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D8E3F11-A3CF-3541-AB3B-A9598B4897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05900" y="62499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1736118-7C22-AC4B-89A0-1C2A0C6817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0659FC0-6F4E-4743-AB20-9E5DB79D9BB3}"/>
              </a:ext>
            </a:extLst>
          </p:cNvPr>
          <p:cNvCxnSpPr>
            <a:cxnSpLocks/>
          </p:cNvCxnSpPr>
          <p:nvPr userDrawn="1"/>
        </p:nvCxnSpPr>
        <p:spPr>
          <a:xfrm>
            <a:off x="280988" y="6070600"/>
            <a:ext cx="11669712" cy="0"/>
          </a:xfrm>
          <a:prstGeom prst="line">
            <a:avLst/>
          </a:prstGeom>
          <a:ln w="28575">
            <a:solidFill>
              <a:srgbClr val="272F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F649ED-92BB-804A-A4D2-48960466F0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4275" y="6229350"/>
            <a:ext cx="572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© 2021, Amazon Web Services, Inc. or its affiliates. All rights reserve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550253-427D-799D-8748-AC8895B3032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9191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to Wipro</a:t>
            </a:r>
          </a:p>
        </p:txBody>
      </p:sp>
      <p:sp>
        <p:nvSpPr>
          <p:cNvPr id="2" name="MSIPCMContentMarking" descr="{&quot;HashCode&quot;:111819723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40DE1DDB-72E6-3C01-8583-8A044300193F}"/>
              </a:ext>
            </a:extLst>
          </p:cNvPr>
          <p:cNvSpPr txBox="1"/>
          <p:nvPr userDrawn="1"/>
        </p:nvSpPr>
        <p:spPr>
          <a:xfrm>
            <a:off x="0" y="6595656"/>
            <a:ext cx="117991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IN" sz="1000">
                <a:solidFill>
                  <a:srgbClr val="000000"/>
                </a:solidFill>
                <a:latin typeface="Calibri" panose="020F0502020204030204" pitchFamily="34" charset="0"/>
              </a:rPr>
              <a:t>Internal to Wipr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nsearch-project/data-prepper/issues/254" TargetMode="Externa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E6555-CDCE-48F0-B230-5AC8E3E9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968" y="2481175"/>
            <a:ext cx="7633001" cy="3531403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en-US" b="1" dirty="0"/>
              <a:t>Kafka Source</a:t>
            </a:r>
            <a:br>
              <a:rPr lang="en-US" b="1" dirty="0"/>
            </a:br>
            <a:br>
              <a:rPr lang="en-US" sz="4000" dirty="0"/>
            </a:br>
            <a:r>
              <a:rPr lang="en-US" sz="4000" dirty="0"/>
              <a:t>Demo for issue number 254</a:t>
            </a:r>
            <a:br>
              <a:rPr lang="en-US" sz="4000" dirty="0"/>
            </a:br>
            <a:r>
              <a:rPr lang="en-IN" sz="40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  <a:hlinkClick r:id="rId2"/>
              </a:rPr>
              <a:t>https://github.com/opensearch-project/data-prepper/issues/254</a:t>
            </a:r>
            <a:br>
              <a:rPr lang="en-IN" sz="40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</a:br>
            <a:endParaRPr lang="en-US" sz="4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964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BE129-0ADE-44A1-9233-9A62F4102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06" y="620392"/>
            <a:ext cx="4787153" cy="5504688"/>
          </a:xfrm>
        </p:spPr>
        <p:txBody>
          <a:bodyPr>
            <a:normAutofit/>
          </a:bodyPr>
          <a:lstStyle/>
          <a:p>
            <a:r>
              <a:rPr lang="en-IN" sz="5400" dirty="0">
                <a:solidFill>
                  <a:schemeClr val="bg1"/>
                </a:solidFill>
              </a:rPr>
              <a:t>Error/Exception 	Scenario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F0B1421-AC1B-41DF-956E-9B41BE790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4753679"/>
              </p:ext>
            </p:extLst>
          </p:nvPr>
        </p:nvGraphicFramePr>
        <p:xfrm>
          <a:off x="5445760" y="240665"/>
          <a:ext cx="5938520" cy="625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11791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9C8B334-B07D-C5EE-4F7F-E2EA5DEF8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119" y="336179"/>
            <a:ext cx="9005761" cy="754299"/>
          </a:xfrm>
        </p:spPr>
        <p:txBody>
          <a:bodyPr/>
          <a:lstStyle/>
          <a:p>
            <a:r>
              <a:rPr lang="en-IN" dirty="0"/>
              <a:t>Kafka Source Plugin Flow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7CE116-A6CE-07CD-1980-FC51A2ECC1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179" y="1277471"/>
            <a:ext cx="10346353" cy="419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9209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E6555-CDCE-48F0-B230-5AC8E3E9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87" y="157654"/>
            <a:ext cx="3052293" cy="353140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Pipeline Configura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FAED975-1D6D-44A8-B77B-48A1EC79D7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6479638"/>
              </p:ext>
            </p:extLst>
          </p:nvPr>
        </p:nvGraphicFramePr>
        <p:xfrm>
          <a:off x="4038603" y="-36498"/>
          <a:ext cx="8022018" cy="656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29666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E6555-CDCE-48F0-B230-5AC8E3E9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87" y="157654"/>
            <a:ext cx="3052293" cy="353140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Pipeline Configura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FAED975-1D6D-44A8-B77B-48A1EC79D7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4439404"/>
              </p:ext>
            </p:extLst>
          </p:nvPr>
        </p:nvGraphicFramePr>
        <p:xfrm>
          <a:off x="4038603" y="-36498"/>
          <a:ext cx="8022018" cy="656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8890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E6555-CDCE-48F0-B230-5AC8E3E9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87" y="157654"/>
            <a:ext cx="3052293" cy="353140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Pipeline Configura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FAED975-1D6D-44A8-B77B-48A1EC79D7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1037950"/>
              </p:ext>
            </p:extLst>
          </p:nvPr>
        </p:nvGraphicFramePr>
        <p:xfrm>
          <a:off x="4038603" y="-36498"/>
          <a:ext cx="8022018" cy="656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61468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E6555-CDCE-48F0-B230-5AC8E3E9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87" y="157654"/>
            <a:ext cx="3052293" cy="353140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Pipeline Configura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FAED975-1D6D-44A8-B77B-48A1EC79D7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8458638"/>
              </p:ext>
            </p:extLst>
          </p:nvPr>
        </p:nvGraphicFramePr>
        <p:xfrm>
          <a:off x="4038603" y="-36498"/>
          <a:ext cx="8022018" cy="656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40552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BE129-0ADE-44A1-9233-9A62F4102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0" y="620392"/>
            <a:ext cx="4189149" cy="5504688"/>
          </a:xfrm>
        </p:spPr>
        <p:txBody>
          <a:bodyPr>
            <a:normAutofit/>
          </a:bodyPr>
          <a:lstStyle/>
          <a:p>
            <a:r>
              <a:rPr lang="en-IN" sz="5400" dirty="0">
                <a:solidFill>
                  <a:schemeClr val="bg1"/>
                </a:solidFill>
              </a:rPr>
              <a:t>Test Scenario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F0B1421-AC1B-41DF-956E-9B41BE790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923004"/>
              </p:ext>
            </p:extLst>
          </p:nvPr>
        </p:nvGraphicFramePr>
        <p:xfrm>
          <a:off x="5445760" y="240665"/>
          <a:ext cx="5938520" cy="625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2253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BE129-0ADE-44A1-9233-9A62F4102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0" y="620392"/>
            <a:ext cx="4189149" cy="5504688"/>
          </a:xfrm>
        </p:spPr>
        <p:txBody>
          <a:bodyPr>
            <a:normAutofit/>
          </a:bodyPr>
          <a:lstStyle/>
          <a:p>
            <a:r>
              <a:rPr lang="en-IN" sz="5400" dirty="0">
                <a:solidFill>
                  <a:schemeClr val="bg1"/>
                </a:solidFill>
              </a:rPr>
              <a:t>Test Scenario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F0B1421-AC1B-41DF-956E-9B41BE790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6474499"/>
              </p:ext>
            </p:extLst>
          </p:nvPr>
        </p:nvGraphicFramePr>
        <p:xfrm>
          <a:off x="5445760" y="240665"/>
          <a:ext cx="5938520" cy="625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440467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BE129-0ADE-44A1-9233-9A62F4102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0" y="620392"/>
            <a:ext cx="4189149" cy="5504688"/>
          </a:xfrm>
        </p:spPr>
        <p:txBody>
          <a:bodyPr>
            <a:normAutofit/>
          </a:bodyPr>
          <a:lstStyle/>
          <a:p>
            <a:r>
              <a:rPr lang="en-IN" sz="5400" dirty="0">
                <a:solidFill>
                  <a:schemeClr val="bg1"/>
                </a:solidFill>
              </a:rPr>
              <a:t>Test Scenario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F0B1421-AC1B-41DF-956E-9B41BE790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420611"/>
              </p:ext>
            </p:extLst>
          </p:nvPr>
        </p:nvGraphicFramePr>
        <p:xfrm>
          <a:off x="5445760" y="240665"/>
          <a:ext cx="5938520" cy="625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2140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itle-and-content_DB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879FC4EC053C45ABA8129CA8D28642" ma:contentTypeVersion="13" ma:contentTypeDescription="Create a new document." ma:contentTypeScope="" ma:versionID="60b4018455aefceb1bec840dd517e5f1">
  <xsd:schema xmlns:xsd="http://www.w3.org/2001/XMLSchema" xmlns:xs="http://www.w3.org/2001/XMLSchema" xmlns:p="http://schemas.microsoft.com/office/2006/metadata/properties" xmlns:ns2="ba945517-7ed4-4f07-a4ff-19862212bb7d" xmlns:ns3="797b6559-370b-46f2-9d45-65d882af2bdf" targetNamespace="http://schemas.microsoft.com/office/2006/metadata/properties" ma:root="true" ma:fieldsID="fe08cf92fd528cc8296ab0d0ecf2e158" ns2:_="" ns3:_="">
    <xsd:import namespace="ba945517-7ed4-4f07-a4ff-19862212bb7d"/>
    <xsd:import namespace="797b6559-370b-46f2-9d45-65d882af2b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945517-7ed4-4f07-a4ff-19862212bb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726df4c0-9ee9-406c-8b5c-a0fe24c95f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b6559-370b-46f2-9d45-65d882af2bd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f2e1f67-7986-4bc5-98a4-3ade2a6a2b46}" ma:internalName="TaxCatchAll" ma:showField="CatchAllData" ma:web="797b6559-370b-46f2-9d45-65d882af2b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a945517-7ed4-4f07-a4ff-19862212bb7d">
      <Terms xmlns="http://schemas.microsoft.com/office/infopath/2007/PartnerControls"/>
    </lcf76f155ced4ddcb4097134ff3c332f>
    <TaxCatchAll xmlns="797b6559-370b-46f2-9d45-65d882af2bdf" xsi:nil="true"/>
  </documentManagement>
</p:properties>
</file>

<file path=customXml/itemProps1.xml><?xml version="1.0" encoding="utf-8"?>
<ds:datastoreItem xmlns:ds="http://schemas.openxmlformats.org/officeDocument/2006/customXml" ds:itemID="{3A3D5D89-CF47-44EF-9659-3C7EF56A9739}"/>
</file>

<file path=customXml/itemProps2.xml><?xml version="1.0" encoding="utf-8"?>
<ds:datastoreItem xmlns:ds="http://schemas.openxmlformats.org/officeDocument/2006/customXml" ds:itemID="{048FD4AE-8071-4AE0-8D3C-1A10405451EC}"/>
</file>

<file path=customXml/itemProps3.xml><?xml version="1.0" encoding="utf-8"?>
<ds:datastoreItem xmlns:ds="http://schemas.openxmlformats.org/officeDocument/2006/customXml" ds:itemID="{D92A2F7C-48DF-4789-8A0E-6A08C26BF1B2}"/>
</file>

<file path=docProps/app.xml><?xml version="1.0" encoding="utf-8"?>
<Properties xmlns="http://schemas.openxmlformats.org/officeDocument/2006/extended-properties" xmlns:vt="http://schemas.openxmlformats.org/officeDocument/2006/docPropsVTypes">
  <TotalTime>2034</TotalTime>
  <Words>776</Words>
  <Application>Microsoft Office PowerPoint</Application>
  <PresentationFormat>Widescreen</PresentationFormat>
  <Paragraphs>4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Office Theme</vt:lpstr>
      <vt:lpstr>Title-and-content_DB</vt:lpstr>
      <vt:lpstr>think-cell Slide</vt:lpstr>
      <vt:lpstr>Kafka Source  Demo for issue number 254 https://github.com/opensearch-project/data-prepper/issues/254 </vt:lpstr>
      <vt:lpstr>Kafka Source Plugin Flow</vt:lpstr>
      <vt:lpstr>Pipeline Configuration</vt:lpstr>
      <vt:lpstr>Pipeline Configuration</vt:lpstr>
      <vt:lpstr>Pipeline Configuration</vt:lpstr>
      <vt:lpstr>Pipeline Configuration</vt:lpstr>
      <vt:lpstr>Test Scenarios</vt:lpstr>
      <vt:lpstr>Test Scenarios</vt:lpstr>
      <vt:lpstr>Test Scenarios</vt:lpstr>
      <vt:lpstr>Error/Exception  Scenari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P: Process cycle for mapping Model with projects</dc:title>
  <dc:creator>Mandira Shah (iDEAS-ER&amp;D)</dc:creator>
  <cp:lastModifiedBy>Ajeesh Gopalakrishnakurup</cp:lastModifiedBy>
  <cp:revision>163</cp:revision>
  <dcterms:created xsi:type="dcterms:W3CDTF">2022-01-20T14:01:24Z</dcterms:created>
  <dcterms:modified xsi:type="dcterms:W3CDTF">2023-07-25T08:1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5b3423-ec78-4b3c-9693-96b88a3857c2_Enabled">
    <vt:lpwstr>true</vt:lpwstr>
  </property>
  <property fmtid="{D5CDD505-2E9C-101B-9397-08002B2CF9AE}" pid="3" name="MSIP_Label_f65b3423-ec78-4b3c-9693-96b88a3857c2_SetDate">
    <vt:lpwstr>2023-03-17T15:33:44Z</vt:lpwstr>
  </property>
  <property fmtid="{D5CDD505-2E9C-101B-9397-08002B2CF9AE}" pid="4" name="MSIP_Label_f65b3423-ec78-4b3c-9693-96b88a3857c2_Method">
    <vt:lpwstr>Standard</vt:lpwstr>
  </property>
  <property fmtid="{D5CDD505-2E9C-101B-9397-08002B2CF9AE}" pid="5" name="MSIP_Label_f65b3423-ec78-4b3c-9693-96b88a3857c2_Name">
    <vt:lpwstr>Internal to Wipro</vt:lpwstr>
  </property>
  <property fmtid="{D5CDD505-2E9C-101B-9397-08002B2CF9AE}" pid="6" name="MSIP_Label_f65b3423-ec78-4b3c-9693-96b88a3857c2_SiteId">
    <vt:lpwstr>258ac4e4-146a-411e-9dc8-79a9e12fd6da</vt:lpwstr>
  </property>
  <property fmtid="{D5CDD505-2E9C-101B-9397-08002B2CF9AE}" pid="7" name="MSIP_Label_f65b3423-ec78-4b3c-9693-96b88a3857c2_ActionId">
    <vt:lpwstr>b2566515-4b6e-48aa-a00e-01a30b7c7b4a</vt:lpwstr>
  </property>
  <property fmtid="{D5CDD505-2E9C-101B-9397-08002B2CF9AE}" pid="8" name="MSIP_Label_f65b3423-ec78-4b3c-9693-96b88a3857c2_ContentBits">
    <vt:lpwstr>2</vt:lpwstr>
  </property>
  <property fmtid="{D5CDD505-2E9C-101B-9397-08002B2CF9AE}" pid="9" name="ContentTypeId">
    <vt:lpwstr>0x010100AC879FC4EC053C45ABA8129CA8D28642</vt:lpwstr>
  </property>
</Properties>
</file>